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4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4.xml" ContentType="application/vnd.openxmlformats-officedocument.presentationml.notesSlide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notesSlides/notesSlide5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2" r:id="rId2"/>
    <p:sldMasterId id="2147483669" r:id="rId3"/>
    <p:sldMasterId id="2147483672" r:id="rId4"/>
  </p:sldMasterIdLst>
  <p:notesMasterIdLst>
    <p:notesMasterId r:id="rId52"/>
  </p:notesMasterIdLst>
  <p:sldIdLst>
    <p:sldId id="306" r:id="rId5"/>
    <p:sldId id="1255" r:id="rId6"/>
    <p:sldId id="1289" r:id="rId7"/>
    <p:sldId id="1276" r:id="rId8"/>
    <p:sldId id="1290" r:id="rId9"/>
    <p:sldId id="372" r:id="rId10"/>
    <p:sldId id="1281" r:id="rId11"/>
    <p:sldId id="399" r:id="rId12"/>
    <p:sldId id="1257" r:id="rId13"/>
    <p:sldId id="1250" r:id="rId14"/>
    <p:sldId id="1217" r:id="rId15"/>
    <p:sldId id="279" r:id="rId16"/>
    <p:sldId id="1253" r:id="rId17"/>
    <p:sldId id="1265" r:id="rId18"/>
    <p:sldId id="1267" r:id="rId19"/>
    <p:sldId id="1264" r:id="rId20"/>
    <p:sldId id="1258" r:id="rId21"/>
    <p:sldId id="1273" r:id="rId22"/>
    <p:sldId id="1215" r:id="rId23"/>
    <p:sldId id="1242" r:id="rId24"/>
    <p:sldId id="1280" r:id="rId25"/>
    <p:sldId id="665" r:id="rId26"/>
    <p:sldId id="847" r:id="rId27"/>
    <p:sldId id="1243" r:id="rId28"/>
    <p:sldId id="1244" r:id="rId29"/>
    <p:sldId id="1286" r:id="rId30"/>
    <p:sldId id="1272" r:id="rId31"/>
    <p:sldId id="1270" r:id="rId32"/>
    <p:sldId id="660" r:id="rId33"/>
    <p:sldId id="661" r:id="rId34"/>
    <p:sldId id="815" r:id="rId35"/>
    <p:sldId id="1282" r:id="rId36"/>
    <p:sldId id="1189" r:id="rId37"/>
    <p:sldId id="1278" r:id="rId38"/>
    <p:sldId id="1247" r:id="rId39"/>
    <p:sldId id="1246" r:id="rId40"/>
    <p:sldId id="1240" r:id="rId41"/>
    <p:sldId id="861" r:id="rId42"/>
    <p:sldId id="862" r:id="rId43"/>
    <p:sldId id="361" r:id="rId44"/>
    <p:sldId id="1287" r:id="rId45"/>
    <p:sldId id="1288" r:id="rId46"/>
    <p:sldId id="1277" r:id="rId47"/>
    <p:sldId id="1238" r:id="rId48"/>
    <p:sldId id="1291" r:id="rId49"/>
    <p:sldId id="1229" r:id="rId50"/>
    <p:sldId id="322" r:id="rId5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87AA"/>
    <a:srgbClr val="D9F2F6"/>
    <a:srgbClr val="002D73"/>
    <a:srgbClr val="F8981F"/>
    <a:srgbClr val="9C5BCD"/>
    <a:srgbClr val="068BAE"/>
    <a:srgbClr val="837E89"/>
    <a:srgbClr val="D0103A"/>
    <a:srgbClr val="002D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7" autoAdjust="0"/>
    <p:restoredTop sz="96370" autoAdjust="0"/>
  </p:normalViewPr>
  <p:slideViewPr>
    <p:cSldViewPr snapToGrid="0" snapToObjects="1">
      <p:cViewPr varScale="1">
        <p:scale>
          <a:sx n="128" d="100"/>
          <a:sy n="128" d="100"/>
        </p:scale>
        <p:origin x="264" y="1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497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presProps" Target="presProps.xml"/><Relationship Id="rId58" Type="http://schemas.openxmlformats.org/officeDocument/2006/relationships/customXml" Target="../customXml/item2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customXml" Target="../customXml/item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customXml" Target="../customXml/item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A764E8-A48A-49C8-998B-121B67EF151A}" type="datetimeFigureOut">
              <a:rPr lang="en-US" smtClean="0"/>
              <a:t>12/1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AB5AE-1C9D-4CDA-BB7D-8F28493ED35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869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Uck</a:t>
            </a:r>
            <a:r>
              <a:rPr lang="en-US" dirty="0"/>
              <a:t>. It’s not goo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674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undreds of papillae</a:t>
            </a:r>
          </a:p>
          <a:p>
            <a:r>
              <a:rPr lang="en-US" dirty="0"/>
              <a:t>3-5 Buds per papillae – More on back of tongue and side</a:t>
            </a:r>
          </a:p>
          <a:p>
            <a:r>
              <a:rPr lang="en-US" dirty="0"/>
              <a:t>30-100cells per bud – gustatory ce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47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know my phenotype – </a:t>
            </a:r>
            <a:r>
              <a:rPr lang="en-US" dirty="0" err="1"/>
              <a:t>Uck</a:t>
            </a:r>
            <a:endParaRPr lang="en-US" dirty="0"/>
          </a:p>
          <a:p>
            <a:r>
              <a:rPr lang="en-US" dirty="0"/>
              <a:t>We know what genotypes lead to that.</a:t>
            </a:r>
          </a:p>
          <a:p>
            <a:r>
              <a:rPr lang="en-US" dirty="0"/>
              <a:t>Very few cases that we can make this complete link.</a:t>
            </a:r>
          </a:p>
          <a:p>
            <a:r>
              <a:rPr lang="en-US" dirty="0"/>
              <a:t>OVER SIMPLIFY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BAB5AE-1C9D-4CDA-BB7D-8F28493ED3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88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B4-8D67-6744-A81C-927B690D69E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3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10 minutes at 95°C</a:t>
            </a:r>
            <a:r>
              <a:rPr lang="en-US" baseline="0" dirty="0">
                <a:solidFill>
                  <a:srgbClr val="FF0000"/>
                </a:solidFill>
              </a:rPr>
              <a:t> </a:t>
            </a:r>
          </a:p>
          <a:p>
            <a:r>
              <a:rPr lang="en-US" dirty="0"/>
              <a:t>Water baths</a:t>
            </a:r>
            <a:r>
              <a:rPr lang="en-US" baseline="0" dirty="0"/>
              <a:t> are expensive</a:t>
            </a:r>
            <a:r>
              <a:rPr lang="is-IS" baseline="0" dirty="0"/>
              <a:t>…many schools do not have these and therefore attempt to maintain temps with ‘home made’ hot water baths – hard to keep 2 very different temp baths going and it is not super reliable as the temp does drop quick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B4-8D67-6744-A81C-927B690D69E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739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CADAD2-237E-44EB-A84A-FE9B3A8619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441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CADAD2-237E-44EB-A84A-FE9B3A86195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7212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A70FA-C19D-4624-8180-22E9ACEF903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532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are our results?</a:t>
            </a:r>
          </a:p>
          <a:p>
            <a:r>
              <a:rPr lang="en-US" dirty="0"/>
              <a:t>Alan Torte’s car – 800 BP fragment.</a:t>
            </a:r>
          </a:p>
          <a:p>
            <a:r>
              <a:rPr lang="en-US" dirty="0"/>
              <a:t>Brenda </a:t>
            </a:r>
            <a:r>
              <a:rPr lang="en-US" dirty="0" err="1"/>
              <a:t>Biscottis’s</a:t>
            </a:r>
            <a:r>
              <a:rPr lang="en-US" dirty="0"/>
              <a:t> car – 400 bp Fragment</a:t>
            </a:r>
          </a:p>
          <a:p>
            <a:r>
              <a:rPr lang="en-US" dirty="0"/>
              <a:t>What does this mean? We need to compare to controls</a:t>
            </a:r>
          </a:p>
          <a:p>
            <a:r>
              <a:rPr lang="en-US" dirty="0"/>
              <a:t>Healthy Control-  800 bp</a:t>
            </a:r>
          </a:p>
          <a:p>
            <a:r>
              <a:rPr lang="en-US" dirty="0"/>
              <a:t>Disease Control – 400 bp </a:t>
            </a:r>
          </a:p>
          <a:p>
            <a:endParaRPr lang="en-US" dirty="0"/>
          </a:p>
          <a:p>
            <a:r>
              <a:rPr lang="en-US" dirty="0"/>
              <a:t>Hair from Brenda Biscotti’s matched the deletion mutation. This is consistent with Missy Bak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A70FA-C19D-4624-8180-22E9ACEF903F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598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10515600" cy="4063999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DADC024F-B7A1-B041-B08B-FBBCB0A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lIns="91440" tIns="0" rIns="9144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64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Text +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3786504"/>
            <a:ext cx="10515600" cy="1980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6739"/>
            <a:ext cx="10515600" cy="1872933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2017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Text + Full Image + 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2922906"/>
            <a:ext cx="10515600" cy="143256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31010"/>
            <a:ext cx="10515600" cy="1019175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91160" y="4535170"/>
            <a:ext cx="10515600" cy="1335052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416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916190561"/>
              </p:ext>
            </p:extLst>
          </p:nvPr>
        </p:nvGraphicFramePr>
        <p:xfrm>
          <a:off x="391160" y="2089150"/>
          <a:ext cx="10515600" cy="3657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505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2585"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 i="0" dirty="0">
                        <a:solidFill>
                          <a:srgbClr val="FFFFFF"/>
                        </a:solidFill>
                        <a:latin typeface="Helvetica"/>
                        <a:cs typeface="Helvetica"/>
                      </a:endParaRPr>
                    </a:p>
                  </a:txBody>
                  <a:tcPr>
                    <a:solidFill>
                      <a:srgbClr val="002D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258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3991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3680" y="437714"/>
            <a:ext cx="10913875" cy="1030286"/>
          </a:xfrm>
          <a:prstGeom prst="rect">
            <a:avLst/>
          </a:prstGeom>
          <a:ln>
            <a:noFill/>
          </a:ln>
        </p:spPr>
        <p:txBody>
          <a:bodyPr anchor="b" anchorCtr="0">
            <a:normAutofit/>
          </a:bodyPr>
          <a:lstStyle>
            <a:lvl1pPr algn="l">
              <a:defRPr sz="3200" b="1" i="0">
                <a:solidFill>
                  <a:srgbClr val="00487D"/>
                </a:solidFill>
                <a:latin typeface="Helvetica"/>
                <a:cs typeface="Helvetica"/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2083313" y="3024909"/>
            <a:ext cx="1219200" cy="91440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t" anchorCtr="0">
            <a:normAutofit/>
          </a:bodyPr>
          <a:lstStyle/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half" idx="2"/>
          </p:nvPr>
        </p:nvSpPr>
        <p:spPr>
          <a:xfrm>
            <a:off x="713679" y="1828800"/>
            <a:ext cx="10913877" cy="429937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spcBef>
                <a:spcPts val="600"/>
              </a:spcBef>
              <a:buClr>
                <a:srgbClr val="0092D2"/>
              </a:buClr>
              <a:buSzPct val="80000"/>
              <a:buFont typeface="Lucida Grande"/>
              <a:buChar char="►"/>
              <a:defRPr sz="1600">
                <a:latin typeface="Arial"/>
                <a:cs typeface="Arial"/>
              </a:defRPr>
            </a:lvl1pPr>
            <a:lvl2pPr marL="742950" indent="-285750">
              <a:spcBef>
                <a:spcPts val="600"/>
              </a:spcBef>
              <a:buClr>
                <a:srgbClr val="0092D2"/>
              </a:buClr>
              <a:buSzPct val="80000"/>
              <a:buFont typeface="Arial"/>
              <a:buChar char="►"/>
              <a:defRPr sz="1600">
                <a:latin typeface="Arial"/>
                <a:cs typeface="Arial"/>
              </a:defRPr>
            </a:lvl2pPr>
            <a:lvl3pPr marL="1143000" indent="-228600">
              <a:spcBef>
                <a:spcPts val="600"/>
              </a:spcBef>
              <a:buClr>
                <a:srgbClr val="0092D2"/>
              </a:buClr>
              <a:buSzPct val="60000"/>
              <a:buFont typeface="Lucida Grande"/>
              <a:buChar char="►"/>
              <a:defRPr sz="1600">
                <a:latin typeface="Arial"/>
                <a:cs typeface="Arial"/>
              </a:defRPr>
            </a:lvl3pPr>
            <a:lvl4pPr marL="1600200" indent="-228600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>
                <a:latin typeface="Arial"/>
                <a:cs typeface="Arial"/>
              </a:defRPr>
            </a:lvl4pPr>
            <a:lvl5pPr marL="2057400" indent="-228600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-353303" y="-246682"/>
            <a:ext cx="1219200" cy="91440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t" anchorCtr="0">
            <a:normAutofit/>
          </a:bodyPr>
          <a:lstStyle/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846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4101465"/>
            <a:ext cx="2458720" cy="653415"/>
          </a:xfrm>
        </p:spPr>
        <p:txBody>
          <a:bodyPr/>
          <a:lstStyle/>
          <a:p>
            <a:r>
              <a:rPr lang="en-US" dirty="0"/>
              <a:t>Add Booth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892800"/>
            <a:ext cx="431800" cy="431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952" y="5892800"/>
            <a:ext cx="431800" cy="4318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1585208" y="5892800"/>
            <a:ext cx="24590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408756" y="5892800"/>
            <a:ext cx="24590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FB Account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4174" y="5892800"/>
            <a:ext cx="431800" cy="4318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072563" y="5892800"/>
            <a:ext cx="3119437" cy="4318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1pPr>
            <a:lvl2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2pPr>
            <a:lvl3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3pPr>
            <a:lvl4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4pPr>
            <a:lvl5pPr>
              <a:defRPr sz="1600" b="0" i="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930473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0" y="3587116"/>
            <a:ext cx="1002792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54480" y="4730116"/>
            <a:ext cx="10027920" cy="716280"/>
          </a:xfrm>
        </p:spPr>
        <p:txBody>
          <a:bodyPr/>
          <a:lstStyle>
            <a:lvl1pPr>
              <a:defRPr>
                <a:latin typeface="Helvetica"/>
                <a:cs typeface="Helvetica"/>
              </a:defRPr>
            </a:lvl1pPr>
            <a:lvl2pPr>
              <a:defRPr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244725" y="6126798"/>
            <a:ext cx="2895600" cy="466725"/>
          </a:xfrm>
        </p:spPr>
        <p:txBody>
          <a:bodyPr>
            <a:normAutofit/>
          </a:bodyPr>
          <a:lstStyle>
            <a:lvl1pPr>
              <a:defRPr sz="1600"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935945" y="6126163"/>
            <a:ext cx="2438400" cy="466725"/>
          </a:xfrm>
        </p:spPr>
        <p:txBody>
          <a:bodyPr>
            <a:noAutofit/>
          </a:bodyPr>
          <a:lstStyle>
            <a:lvl1pPr>
              <a:defRPr sz="1600">
                <a:latin typeface="Helvetica"/>
                <a:cs typeface="Helvetica"/>
              </a:defRPr>
            </a:lvl1pPr>
            <a:lvl2pPr>
              <a:defRPr sz="1600">
                <a:latin typeface="Helvetica"/>
                <a:cs typeface="Helvetica"/>
              </a:defRPr>
            </a:lvl2pPr>
            <a:lvl3pPr>
              <a:defRPr sz="1600">
                <a:latin typeface="Helvetica"/>
                <a:cs typeface="Helvetica"/>
              </a:defRPr>
            </a:lvl3pPr>
            <a:lvl4pPr>
              <a:defRPr sz="1600">
                <a:latin typeface="Helvetica"/>
                <a:cs typeface="Helvetica"/>
              </a:defRPr>
            </a:lvl4pPr>
            <a:lvl5pPr>
              <a:defRPr sz="1600"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426575" y="6126163"/>
            <a:ext cx="2155825" cy="466725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39576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54480" y="3375978"/>
            <a:ext cx="5811520" cy="1143000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244725" y="6126798"/>
            <a:ext cx="2895600" cy="466725"/>
          </a:xfrm>
        </p:spPr>
        <p:txBody>
          <a:bodyPr>
            <a:normAutofit/>
          </a:bodyPr>
          <a:lstStyle>
            <a:lvl1pPr>
              <a:defRPr sz="1600">
                <a:latin typeface="Helvetica"/>
                <a:cs typeface="Helvetica"/>
              </a:defRPr>
            </a:lvl1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865390" y="6126163"/>
            <a:ext cx="2438400" cy="466725"/>
          </a:xfrm>
        </p:spPr>
        <p:txBody>
          <a:bodyPr>
            <a:noAutofit/>
          </a:bodyPr>
          <a:lstStyle>
            <a:lvl1pPr>
              <a:defRPr sz="1600">
                <a:latin typeface="Helvetica"/>
                <a:cs typeface="Helvetica"/>
              </a:defRPr>
            </a:lvl1pPr>
            <a:lvl2pPr>
              <a:defRPr sz="1600">
                <a:latin typeface="Helvetica"/>
                <a:cs typeface="Helvetica"/>
              </a:defRPr>
            </a:lvl2pPr>
            <a:lvl3pPr>
              <a:defRPr sz="1600">
                <a:latin typeface="Helvetica"/>
                <a:cs typeface="Helvetica"/>
              </a:defRPr>
            </a:lvl3pPr>
            <a:lvl4pPr>
              <a:defRPr sz="1600">
                <a:latin typeface="Helvetica"/>
                <a:cs typeface="Helvetica"/>
              </a:defRPr>
            </a:lvl4pPr>
            <a:lvl5pPr>
              <a:defRPr sz="1600"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802880" y="1148080"/>
            <a:ext cx="3514725" cy="4064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54163" y="4518978"/>
            <a:ext cx="5811837" cy="711200"/>
          </a:xfrm>
        </p:spPr>
        <p:txBody>
          <a:bodyPr/>
          <a:lstStyle/>
          <a:p>
            <a:pPr lvl="0"/>
            <a:r>
              <a:rPr lang="en-US" dirty="0"/>
              <a:t>Add Sub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9398000" y="6126163"/>
            <a:ext cx="2243138" cy="46672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1955113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484563" y="3850323"/>
            <a:ext cx="6310312" cy="93503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4000" b="1" i="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484563" y="4785360"/>
            <a:ext cx="6786562" cy="6492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24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064883" y="6147118"/>
            <a:ext cx="1833562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TW Accoun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840008" y="6146800"/>
            <a:ext cx="2064104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2pPr>
            <a:lvl3pPr marL="9144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3pPr>
            <a:lvl4pPr marL="13716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4pPr>
            <a:lvl5pPr marL="1828800" indent="0">
              <a:buNone/>
              <a:defRPr sz="18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FB Accou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9482138" y="6146800"/>
            <a:ext cx="2117725" cy="4159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1pPr>
            <a:lvl2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2pPr>
            <a:lvl3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3pPr>
            <a:lvl4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4pPr>
            <a:lvl5pPr>
              <a:defRPr sz="1600">
                <a:solidFill>
                  <a:srgbClr val="002D73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dirty="0"/>
              <a:t>Add IG Account</a:t>
            </a:r>
          </a:p>
        </p:txBody>
      </p:sp>
    </p:spTree>
    <p:extLst>
      <p:ext uri="{BB962C8B-B14F-4D97-AF65-F5344CB8AC3E}">
        <p14:creationId xmlns:p14="http://schemas.microsoft.com/office/powerpoint/2010/main" val="2652018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 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B89CF-F217-754D-935A-64AF79D4B5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3FD7270-D967-DF4B-9A4A-0A89D4A8D0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10515600" cy="4063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13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167CF2-463E-4048-A865-C7CB4E84B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1160" y="1722331"/>
            <a:ext cx="5181600" cy="4147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A1C9D2-DAC0-DC49-89A9-393E1D9EAB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25160" y="1723107"/>
            <a:ext cx="5181600" cy="4147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1366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8F045-1D5A-6E49-8E09-36E0808E1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C76F623E-AB8F-2A4B-B01A-C61561D8D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723107"/>
            <a:ext cx="5723572" cy="409067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91160" y="1722331"/>
            <a:ext cx="4607560" cy="40914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0699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6F623E-AB8F-2A4B-B01A-C61561D8D4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1160" y="1723107"/>
            <a:ext cx="5723572" cy="409067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DFEAB6D-FBA5-E346-9A30-E8816A7D1EF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99200" y="1723107"/>
            <a:ext cx="4607560" cy="40906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024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0525" y="1643697"/>
            <a:ext cx="10515600" cy="598488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90525" y="2608580"/>
            <a:ext cx="10515600" cy="1035050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541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Subtitle +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90525" y="1722331"/>
            <a:ext cx="5014595" cy="588645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92165" y="1722331"/>
            <a:ext cx="5014595" cy="588645"/>
          </a:xfrm>
        </p:spPr>
        <p:txBody>
          <a:bodyPr/>
          <a:lstStyle>
            <a:lvl1pPr marL="0" indent="0">
              <a:buNone/>
              <a:defRPr>
                <a:solidFill>
                  <a:srgbClr val="D0103A"/>
                </a:solidFill>
              </a:defRPr>
            </a:lvl1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90525" y="2585930"/>
            <a:ext cx="5014913" cy="322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891847" y="2585931"/>
            <a:ext cx="5014913" cy="322784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429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1722332"/>
            <a:ext cx="10515600" cy="404442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3139643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Full Image + Fu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90525" y="1722331"/>
            <a:ext cx="10515600" cy="21723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EE1AB7-396A-A442-AE47-55C8458408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4080827"/>
            <a:ext cx="10515600" cy="1872933"/>
          </a:xfrm>
        </p:spPr>
        <p:txBody>
          <a:bodyPr/>
          <a:lstStyle>
            <a:lvl1pPr marL="0" indent="0">
              <a:buNone/>
              <a:defRPr sz="2400">
                <a:solidFill>
                  <a:srgbClr val="002D7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3258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iniPCR bio Template PPT_04.jp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DC024F-B7A1-B041-B08B-FBBCB0A98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wrap="square" lIns="91440" tIns="0" rIns="9144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44B5B5-7AE1-4E46-97BB-88D3E1A3B0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10515600" cy="4367918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160" y="1215532"/>
            <a:ext cx="355600" cy="635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80952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2" r:id="rId3"/>
    <p:sldLayoutId id="2147483654" r:id="rId4"/>
    <p:sldLayoutId id="2147483677" r:id="rId5"/>
    <p:sldLayoutId id="2147483674" r:id="rId6"/>
    <p:sldLayoutId id="2147483675" r:id="rId7"/>
    <p:sldLayoutId id="2147483678" r:id="rId8"/>
    <p:sldLayoutId id="2147483679" r:id="rId9"/>
    <p:sldLayoutId id="2147483680" r:id="rId10"/>
    <p:sldLayoutId id="2147483681" r:id="rId11"/>
    <p:sldLayoutId id="2147483684" r:id="rId12"/>
    <p:sldLayoutId id="214748368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rgbClr val="D0103A"/>
          </a:solidFill>
          <a:latin typeface="Helvetica"/>
          <a:ea typeface="+mj-ea"/>
          <a:cs typeface="Helvetica"/>
        </a:defRPr>
      </a:lvl1pPr>
    </p:titleStyle>
    <p:bodyStyle>
      <a:lvl1pPr marL="2286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400" kern="1200">
          <a:solidFill>
            <a:srgbClr val="002D73"/>
          </a:solidFill>
          <a:latin typeface="Helvetica"/>
          <a:ea typeface="+mn-ea"/>
          <a:cs typeface="Helvetica"/>
        </a:defRPr>
      </a:lvl1pPr>
      <a:lvl2pPr marL="6858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200" kern="1200">
          <a:solidFill>
            <a:srgbClr val="002D73"/>
          </a:solidFill>
          <a:latin typeface="Helvetica"/>
          <a:ea typeface="+mn-ea"/>
          <a:cs typeface="Helvetica"/>
        </a:defRPr>
      </a:lvl2pPr>
      <a:lvl3pPr marL="11430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2000" kern="1200">
          <a:solidFill>
            <a:srgbClr val="002D73"/>
          </a:solidFill>
          <a:latin typeface="Helvetica"/>
          <a:ea typeface="+mn-ea"/>
          <a:cs typeface="Helvetica"/>
        </a:defRPr>
      </a:lvl3pPr>
      <a:lvl4pPr marL="16002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1800" kern="1200">
          <a:solidFill>
            <a:srgbClr val="002D73"/>
          </a:solidFill>
          <a:latin typeface="Helvetica"/>
          <a:ea typeface="+mn-ea"/>
          <a:cs typeface="Helvetica"/>
        </a:defRPr>
      </a:lvl4pPr>
      <a:lvl5pPr marL="2057400" indent="-230400" algn="l" defTabSz="91440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1800" kern="1200">
          <a:solidFill>
            <a:srgbClr val="002D73"/>
          </a:solidFill>
          <a:latin typeface="Helvetica"/>
          <a:ea typeface="+mn-ea"/>
          <a:cs typeface="Helvetica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iniPCR bio Template PPT 240619_Apertura copia copy 11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3440" y="4043998"/>
            <a:ext cx="2733040" cy="61944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Add Booth</a:t>
            </a:r>
          </a:p>
        </p:txBody>
      </p:sp>
    </p:spTree>
    <p:extLst>
      <p:ext uri="{BB962C8B-B14F-4D97-AF65-F5344CB8AC3E}">
        <p14:creationId xmlns:p14="http://schemas.microsoft.com/office/powerpoint/2010/main" val="182915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iniPCR bio Template PPT_03.jp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54480" y="3555471"/>
            <a:ext cx="1002792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54480" y="4698471"/>
            <a:ext cx="10027920" cy="716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4800" y="6108700"/>
            <a:ext cx="431800" cy="431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9738" y="6108700"/>
            <a:ext cx="431800" cy="431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9294" y="6108700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763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6" r:id="rId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Helvetica"/>
          <a:ea typeface="+mn-ea"/>
          <a:cs typeface="Helvetica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rgbClr val="002D7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iniPCR bio Template PPT 080719_Apertura copia copy 3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420" y="6108700"/>
            <a:ext cx="431800" cy="431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5060" y="6108700"/>
            <a:ext cx="431800" cy="431800"/>
          </a:xfrm>
          <a:prstGeom prst="rect">
            <a:avLst/>
          </a:prstGeom>
        </p:spPr>
      </p:pic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3423920" y="3505518"/>
            <a:ext cx="753872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4808" y="6108700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636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4000" b="1" i="0" kern="1200">
          <a:solidFill>
            <a:srgbClr val="002D73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/index.php?title=User:Hldavis4&amp;action=edit&amp;redlink=1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commons.wikimedia.org/w/index.php?title=Template:Purves,_Dale._Taste_Receptors_and_the_Transduction_of_Taste_Signals._U.S._National_Library_of_Medicine,_n.d._Web._May-June_2015.&amp;action=edit&amp;redlink=1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5" Type="http://schemas.openxmlformats.org/officeDocument/2006/relationships/image" Target="../media/image30.jpe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emf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6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10.xml"/><Relationship Id="rId7" Type="http://schemas.openxmlformats.org/officeDocument/2006/relationships/image" Target="../media/image2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8.gif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32.png"/><Relationship Id="rId4" Type="http://schemas.openxmlformats.org/officeDocument/2006/relationships/tags" Target="../tags/tag11.xml"/><Relationship Id="rId9" Type="http://schemas.openxmlformats.org/officeDocument/2006/relationships/image" Target="../media/image3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image" Target="../media/image78.jpeg"/><Relationship Id="rId7" Type="http://schemas.openxmlformats.org/officeDocument/2006/relationships/image" Target="../media/image82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1.jpeg"/><Relationship Id="rId5" Type="http://schemas.openxmlformats.org/officeDocument/2006/relationships/image" Target="../media/image80.jpeg"/><Relationship Id="rId10" Type="http://schemas.openxmlformats.org/officeDocument/2006/relationships/image" Target="../media/image85.jpeg"/><Relationship Id="rId4" Type="http://schemas.openxmlformats.org/officeDocument/2006/relationships/image" Target="../media/image79.jpeg"/><Relationship Id="rId9" Type="http://schemas.openxmlformats.org/officeDocument/2006/relationships/image" Target="../media/image8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3.xml"/><Relationship Id="rId7" Type="http://schemas.openxmlformats.org/officeDocument/2006/relationships/image" Target="../media/image2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8.gif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32.png"/><Relationship Id="rId4" Type="http://schemas.openxmlformats.org/officeDocument/2006/relationships/tags" Target="../tags/tag4.xml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/index.php?title=User:Hldavis4&amp;action=edit&amp;redlink=1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commons.wikimedia.org/w/index.php?title=Template:Purves,_Dale._Taste_Receptors_and_the_Transduction_of_Taste_Signals._U.S._National_Library_of_Medicine,_n.d._Web._May-June_2015.&amp;action=edit&amp;redlink=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Taster Lab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b.com/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rom Genotype to Phenotyp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1A6FD7-EE3F-F34A-816F-D82BC99A253A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7A0311C-CD97-47C2-8E45-3A460C342E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88" r="16113"/>
          <a:stretch/>
        </p:blipFill>
        <p:spPr>
          <a:xfrm>
            <a:off x="7802880" y="1304599"/>
            <a:ext cx="3514725" cy="3745196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BACFB12-A298-4B3F-9EFF-9035EFC7D3A0}"/>
              </a:ext>
            </a:extLst>
          </p:cNvPr>
          <p:cNvSpPr txBox="1">
            <a:spLocks/>
          </p:cNvSpPr>
          <p:nvPr/>
        </p:nvSpPr>
        <p:spPr>
          <a:xfrm>
            <a:off x="9456952" y="6126798"/>
            <a:ext cx="2895600" cy="466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rgbClr val="002D7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miniPC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2085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itter taste signal transduction</a:t>
            </a:r>
            <a:br>
              <a:rPr lang="en-US" dirty="0"/>
            </a:br>
            <a:endParaRPr lang="en-US" dirty="0"/>
          </a:p>
        </p:txBody>
      </p:sp>
      <p:pic>
        <p:nvPicPr>
          <p:cNvPr id="3074" name="Picture 2" descr="https://upload.wikimedia.org/wikipedia/commons/thumb/4/4d/Signal_Transaction_of_Taste%3B_Bitter.svg/512px-Signal_Transaction_of_Taste%3B_Bitter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7344" y="1556359"/>
            <a:ext cx="4876800" cy="462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614156" y="1270753"/>
            <a:ext cx="482003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. Reception of a molecule.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tter chemical binds to G Protein-coupled receptors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. Transduction pathway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stducin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a second messenger, i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. Phosphodiesterase, an enzyme, is then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. Cyclic nucleotide,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NMP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is used, lowering the concentration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. Channels such as the K+, potassium, channels, close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I. Response of the taste cell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. Increased levels of Ca+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. Neurotransmitter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8. Signal is sent to the neuron.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75828" y="1310711"/>
            <a:ext cx="1257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bud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14228" y="1310711"/>
            <a:ext cx="1219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cell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10000" y="6273817"/>
            <a:ext cx="53019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3" tooltip="User:Hldavis4 (page does not exist)"/>
              </a:rPr>
              <a:t>Hldavis4</a:t>
            </a:r>
            <a:r>
              <a:rPr lang="en-US" sz="1100" dirty="0">
                <a:solidFill>
                  <a:srgbClr val="555555"/>
                </a:solidFill>
                <a:latin typeface="Arial" panose="020B0604020202020204" pitchFamily="34" charset="0"/>
              </a:rPr>
              <a:t>  &amp; 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Template:Purves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, Dale. Taste Receptors and the Transduction of Taste Signals. U.S. National Library of Medicine, 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n.d.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 Web. May-June 2015.</a:t>
            </a:r>
            <a:endParaRPr lang="en-US" sz="11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93B6B7-9DDC-408E-AF1F-68C6B16546FF}"/>
              </a:ext>
            </a:extLst>
          </p:cNvPr>
          <p:cNvSpPr/>
          <p:nvPr/>
        </p:nvSpPr>
        <p:spPr>
          <a:xfrm>
            <a:off x="3295651" y="3120392"/>
            <a:ext cx="3007518" cy="3025140"/>
          </a:xfrm>
          <a:prstGeom prst="rect">
            <a:avLst/>
          </a:prstGeom>
          <a:solidFill>
            <a:schemeClr val="accent5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E206F73-90B7-4048-BAEF-1DD0DDA2829A}"/>
              </a:ext>
            </a:extLst>
          </p:cNvPr>
          <p:cNvSpPr/>
          <p:nvPr/>
        </p:nvSpPr>
        <p:spPr>
          <a:xfrm>
            <a:off x="3295651" y="1671332"/>
            <a:ext cx="3007517" cy="1449060"/>
          </a:xfrm>
          <a:custGeom>
            <a:avLst/>
            <a:gdLst>
              <a:gd name="connsiteX0" fmla="*/ 0 w 3007517"/>
              <a:gd name="connsiteY0" fmla="*/ 0 h 1449060"/>
              <a:gd name="connsiteX1" fmla="*/ 473868 w 3007517"/>
              <a:gd name="connsiteY1" fmla="*/ 0 h 1449060"/>
              <a:gd name="connsiteX2" fmla="*/ 3007517 w 3007517"/>
              <a:gd name="connsiteY2" fmla="*/ 0 h 1449060"/>
              <a:gd name="connsiteX3" fmla="*/ 3007517 w 3007517"/>
              <a:gd name="connsiteY3" fmla="*/ 1449060 h 1449060"/>
              <a:gd name="connsiteX4" fmla="*/ 473868 w 3007517"/>
              <a:gd name="connsiteY4" fmla="*/ 1449060 h 1449060"/>
              <a:gd name="connsiteX5" fmla="*/ 0 w 3007517"/>
              <a:gd name="connsiteY5" fmla="*/ 1449060 h 1449060"/>
              <a:gd name="connsiteX6" fmla="*/ 0 w 3007517"/>
              <a:gd name="connsiteY6" fmla="*/ 1188313 h 1449060"/>
              <a:gd name="connsiteX7" fmla="*/ 473868 w 3007517"/>
              <a:gd name="connsiteY7" fmla="*/ 1188313 h 1449060"/>
              <a:gd name="connsiteX8" fmla="*/ 473868 w 3007517"/>
              <a:gd name="connsiteY8" fmla="*/ 659912 h 1449060"/>
              <a:gd name="connsiteX9" fmla="*/ 0 w 3007517"/>
              <a:gd name="connsiteY9" fmla="*/ 659912 h 144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07517" h="1449060">
                <a:moveTo>
                  <a:pt x="0" y="0"/>
                </a:moveTo>
                <a:lnTo>
                  <a:pt x="473868" y="0"/>
                </a:lnTo>
                <a:lnTo>
                  <a:pt x="3007517" y="0"/>
                </a:lnTo>
                <a:lnTo>
                  <a:pt x="3007517" y="1449060"/>
                </a:lnTo>
                <a:lnTo>
                  <a:pt x="473868" y="1449060"/>
                </a:lnTo>
                <a:lnTo>
                  <a:pt x="0" y="1449060"/>
                </a:lnTo>
                <a:lnTo>
                  <a:pt x="0" y="1188313"/>
                </a:lnTo>
                <a:lnTo>
                  <a:pt x="473868" y="1188313"/>
                </a:lnTo>
                <a:lnTo>
                  <a:pt x="473868" y="659912"/>
                </a:lnTo>
                <a:lnTo>
                  <a:pt x="0" y="659912"/>
                </a:lnTo>
                <a:close/>
              </a:path>
            </a:pathLst>
          </a:custGeom>
          <a:solidFill>
            <a:schemeClr val="accent5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3186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91160" y="3884929"/>
            <a:ext cx="10515600" cy="21431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argest and most diverse group of membrane receptors in eukaryo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ide array of functions in the human bod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argets for 1/3 to 1/2 of all marketed dru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ll-studied signaling casca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 ♥ G-Protein Coupled Receptors</a:t>
            </a:r>
          </a:p>
        </p:txBody>
      </p:sp>
      <p:pic>
        <p:nvPicPr>
          <p:cNvPr id="5" name="Picture 2" descr="A schematic illustration shows a G-protein-coupled receptor (GPCR) and G-proteins in a plasma membrane, which is composed of phospholipids that form a bilayer. The GPCR and G-proteins are shown before and after stimulation by an agonist.">
            <a:extLst>
              <a:ext uri="{FF2B5EF4-FFF2-40B4-BE49-F238E27FC236}">
                <a16:creationId xmlns:a16="http://schemas.microsoft.com/office/drawing/2014/main" id="{B4EC7301-3F65-0848-B038-9F562F951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0" y="1518708"/>
            <a:ext cx="57150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0229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70491B9-5D5D-6A44-A599-61860E952D6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6409" y="949980"/>
            <a:ext cx="5165591" cy="32990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560" y="437714"/>
            <a:ext cx="11291995" cy="1030286"/>
          </a:xfrm>
        </p:spPr>
        <p:txBody>
          <a:bodyPr anchor="t">
            <a:noAutofit/>
          </a:bodyPr>
          <a:lstStyle/>
          <a:p>
            <a:r>
              <a:rPr lang="en-US" dirty="0">
                <a:solidFill>
                  <a:schemeClr val="accent3"/>
                </a:solidFill>
              </a:rPr>
              <a:t>Easy DNA extraction:95ºC, 10 min</a:t>
            </a:r>
          </a:p>
        </p:txBody>
      </p:sp>
      <p:sp>
        <p:nvSpPr>
          <p:cNvPr id="22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32198" y="2026107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kern="0" dirty="0">
                <a:solidFill>
                  <a:srgbClr val="FFFFFF"/>
                </a:solidFill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1815638" y="5359247"/>
            <a:ext cx="8739989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buClr>
                <a:srgbClr val="808080"/>
              </a:buClr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>
              <a:buClr>
                <a:srgbClr val="808080"/>
              </a:buClr>
            </a:pPr>
            <a:r>
              <a:rPr lang="en-US" altLang="en-US" sz="24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No need for a separate </a:t>
            </a:r>
            <a:r>
              <a:rPr lang="en-US" altLang="en-US" sz="2400" kern="0" dirty="0">
                <a:solidFill>
                  <a:srgbClr val="FF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heat</a:t>
            </a:r>
            <a:r>
              <a:rPr lang="en-US" altLang="en-US" sz="24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block or water bath</a:t>
            </a:r>
          </a:p>
        </p:txBody>
      </p:sp>
      <p:pic>
        <p:nvPicPr>
          <p:cNvPr id="1026" name="Picture 2" descr="http://supratechdna.com/images/stap-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308" y="3096011"/>
            <a:ext cx="1904301" cy="180273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Down Arrow 19"/>
          <p:cNvSpPr/>
          <p:nvPr/>
        </p:nvSpPr>
        <p:spPr>
          <a:xfrm rot="16200000">
            <a:off x="3449643" y="3401206"/>
            <a:ext cx="684760" cy="119234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657DEB3-3911-4720-88A1-DD0F01987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3325" y="2964161"/>
            <a:ext cx="3456463" cy="230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86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, 3 SNPs </a:t>
            </a:r>
            <a:r>
              <a:rPr lang="en-US" sz="2400" dirty="0"/>
              <a:t>(</a:t>
            </a:r>
            <a:r>
              <a:rPr lang="en-US" sz="2400" u="sng" dirty="0"/>
              <a:t>s</a:t>
            </a:r>
            <a:r>
              <a:rPr lang="en-US" sz="2400" dirty="0"/>
              <a:t>ingle </a:t>
            </a:r>
            <a:r>
              <a:rPr lang="en-US" sz="2400" u="sng" dirty="0"/>
              <a:t>n</a:t>
            </a:r>
            <a:r>
              <a:rPr lang="en-US" sz="2400" dirty="0"/>
              <a:t>ucleotide </a:t>
            </a:r>
            <a:r>
              <a:rPr lang="en-US" sz="2400" u="sng" dirty="0"/>
              <a:t>p</a:t>
            </a:r>
            <a:r>
              <a:rPr lang="en-US" sz="2400" dirty="0"/>
              <a:t>olymorphism)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5189E1B-01F6-4CCD-8EBB-7C865B6D4C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5313046"/>
            <a:ext cx="10972800" cy="206887"/>
          </a:xfrm>
          <a:prstGeom prst="rect">
            <a:avLst/>
          </a:prstGeom>
        </p:spPr>
      </p:pic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83B69B55-530E-4CE4-9B10-12059A2F4A3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2975343"/>
            <a:ext cx="10972800" cy="26022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226141" y="5507762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213950" y="3191127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53DC330-300F-45A0-B03E-47A28A939B65}"/>
              </a:ext>
            </a:extLst>
          </p:cNvPr>
          <p:cNvGrpSpPr/>
          <p:nvPr/>
        </p:nvGrpSpPr>
        <p:grpSpPr>
          <a:xfrm>
            <a:off x="1194390" y="1237047"/>
            <a:ext cx="1795684" cy="2027023"/>
            <a:chOff x="1194390" y="1237047"/>
            <a:chExt cx="1795684" cy="2027023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F01BCF11-FC39-4C37-B10C-539FADE2486E}"/>
                </a:ext>
              </a:extLst>
            </p:cNvPr>
            <p:cNvGrpSpPr/>
            <p:nvPr/>
          </p:nvGrpSpPr>
          <p:grpSpPr>
            <a:xfrm>
              <a:off x="1259747" y="1237047"/>
              <a:ext cx="1645920" cy="2027023"/>
              <a:chOff x="1259747" y="1237047"/>
              <a:chExt cx="1645920" cy="2027023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8DF52EE5-3470-4FEC-90FC-7D415C7F94C7}"/>
                  </a:ext>
                </a:extLst>
              </p:cNvPr>
              <p:cNvSpPr/>
              <p:nvPr/>
            </p:nvSpPr>
            <p:spPr>
              <a:xfrm>
                <a:off x="1696211" y="2956293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5A695B5-0573-47EB-906E-E532B63965F5}"/>
                  </a:ext>
                </a:extLst>
              </p:cNvPr>
              <p:cNvSpPr/>
              <p:nvPr/>
            </p:nvSpPr>
            <p:spPr>
              <a:xfrm>
                <a:off x="1259747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7C378C4-C06B-4623-8110-53DC870D783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347789" y="2436020"/>
                <a:ext cx="348422" cy="711993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3778999-0DCF-494F-B18C-944B94C05240}"/>
                  </a:ext>
                </a:extLst>
              </p:cNvPr>
              <p:cNvCxnSpPr>
                <a:cxnSpLocks/>
                <a:stCxn id="21" idx="5"/>
              </p:cNvCxnSpPr>
              <p:nvPr/>
            </p:nvCxnSpPr>
            <p:spPr>
              <a:xfrm flipV="1">
                <a:off x="1972634" y="2721769"/>
                <a:ext cx="603879" cy="497228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601B412C-7B60-4D6F-91A9-FD147A24FEAF}"/>
                </a:ext>
              </a:extLst>
            </p:cNvPr>
            <p:cNvSpPr/>
            <p:nvPr/>
          </p:nvSpPr>
          <p:spPr>
            <a:xfrm>
              <a:off x="1194390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t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gt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tgactc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EE6055F-64D2-43FD-9950-FEE18A926B49}"/>
              </a:ext>
            </a:extLst>
          </p:cNvPr>
          <p:cNvGrpSpPr/>
          <p:nvPr/>
        </p:nvGrpSpPr>
        <p:grpSpPr>
          <a:xfrm>
            <a:off x="1194390" y="3565226"/>
            <a:ext cx="1795684" cy="2035161"/>
            <a:chOff x="1194390" y="3565226"/>
            <a:chExt cx="1795684" cy="2035161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6B2CC85-5235-4800-8029-FDDF9E38B7EA}"/>
                </a:ext>
              </a:extLst>
            </p:cNvPr>
            <p:cNvGrpSpPr/>
            <p:nvPr/>
          </p:nvGrpSpPr>
          <p:grpSpPr>
            <a:xfrm>
              <a:off x="1259747" y="3565226"/>
              <a:ext cx="1645920" cy="2035161"/>
              <a:chOff x="1259747" y="3565226"/>
              <a:chExt cx="1645920" cy="2035161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C2FC3959-9CAF-45C4-832E-0889B0397494}"/>
                  </a:ext>
                </a:extLst>
              </p:cNvPr>
              <p:cNvSpPr/>
              <p:nvPr/>
            </p:nvSpPr>
            <p:spPr>
              <a:xfrm>
                <a:off x="1696211" y="5280347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363794F-88EA-4EFB-AE46-58B8D98D7461}"/>
                  </a:ext>
                </a:extLst>
              </p:cNvPr>
              <p:cNvSpPr/>
              <p:nvPr/>
            </p:nvSpPr>
            <p:spPr>
              <a:xfrm>
                <a:off x="1259747" y="3565226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D80DED9-5030-425F-86DB-184D8130CD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347789" y="4760467"/>
                <a:ext cx="348422" cy="711993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5B2F106B-980E-4724-8585-A1AF77AF6B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72634" y="5046216"/>
                <a:ext cx="603879" cy="497228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910AA9F8-F611-4E5B-9A39-CA53E2698CAB}"/>
                </a:ext>
              </a:extLst>
            </p:cNvPr>
            <p:cNvSpPr/>
            <p:nvPr/>
          </p:nvSpPr>
          <p:spPr>
            <a:xfrm>
              <a:off x="1194390" y="4128523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t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gt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tgactc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8567B946-BB3A-43CE-956E-F79BB744C768}"/>
              </a:ext>
            </a:extLst>
          </p:cNvPr>
          <p:cNvGrpSpPr/>
          <p:nvPr/>
        </p:nvGrpSpPr>
        <p:grpSpPr>
          <a:xfrm>
            <a:off x="7249072" y="1237047"/>
            <a:ext cx="1795684" cy="2027023"/>
            <a:chOff x="7249072" y="1237047"/>
            <a:chExt cx="1795684" cy="2027023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4BD5A133-7233-46EA-B723-A28F086266B1}"/>
                </a:ext>
              </a:extLst>
            </p:cNvPr>
            <p:cNvGrpSpPr/>
            <p:nvPr/>
          </p:nvGrpSpPr>
          <p:grpSpPr>
            <a:xfrm>
              <a:off x="7323954" y="1237047"/>
              <a:ext cx="1709553" cy="2027023"/>
              <a:chOff x="7323954" y="1237047"/>
              <a:chExt cx="1709553" cy="2027023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7920A49-433B-4D1C-B716-68EB0E35882E}"/>
                  </a:ext>
                </a:extLst>
              </p:cNvPr>
              <p:cNvSpPr/>
              <p:nvPr/>
            </p:nvSpPr>
            <p:spPr>
              <a:xfrm>
                <a:off x="8709657" y="2956293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AEEB197-6AC7-444A-AD15-A3B9444A9D82}"/>
                  </a:ext>
                </a:extLst>
              </p:cNvPr>
              <p:cNvSpPr/>
              <p:nvPr/>
            </p:nvSpPr>
            <p:spPr>
              <a:xfrm>
                <a:off x="7323954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77C5373A-C86C-43B7-951F-05FFE08C8E4D}"/>
                  </a:ext>
                </a:extLst>
              </p:cNvPr>
              <p:cNvGrpSpPr/>
              <p:nvPr/>
            </p:nvGrpSpPr>
            <p:grpSpPr>
              <a:xfrm>
                <a:off x="7850982" y="2060007"/>
                <a:ext cx="1182525" cy="1158990"/>
                <a:chOff x="7850982" y="2060007"/>
                <a:chExt cx="1182525" cy="1158990"/>
              </a:xfrm>
            </p:grpSpPr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2E54EB16-8E34-4DC4-8FF1-4E5FBCF3D890}"/>
                    </a:ext>
                  </a:extLst>
                </p:cNvPr>
                <p:cNvCxnSpPr>
                  <a:stCxn id="22" idx="6"/>
                  <a:endCxn id="33" idx="6"/>
                </p:cNvCxnSpPr>
                <p:nvPr/>
              </p:nvCxnSpPr>
              <p:spPr>
                <a:xfrm flipH="1" flipV="1">
                  <a:off x="8969874" y="2060007"/>
                  <a:ext cx="63633" cy="1050175"/>
                </a:xfrm>
                <a:prstGeom prst="line">
                  <a:avLst/>
                </a:prstGeom>
                <a:ln>
                  <a:solidFill>
                    <a:srgbClr val="068BA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>
                  <a:extLst>
                    <a:ext uri="{FF2B5EF4-FFF2-40B4-BE49-F238E27FC236}">
                      <a16:creationId xmlns:a16="http://schemas.microsoft.com/office/drawing/2014/main" id="{927FC5E7-BF18-44C8-94ED-96FC7FE8D951}"/>
                    </a:ext>
                  </a:extLst>
                </p:cNvPr>
                <p:cNvCxnSpPr>
                  <a:cxnSpLocks/>
                  <a:stCxn id="22" idx="3"/>
                </p:cNvCxnSpPr>
                <p:nvPr/>
              </p:nvCxnSpPr>
              <p:spPr>
                <a:xfrm flipH="1" flipV="1">
                  <a:off x="7850982" y="2831307"/>
                  <a:ext cx="906102" cy="387690"/>
                </a:xfrm>
                <a:prstGeom prst="line">
                  <a:avLst/>
                </a:prstGeom>
                <a:ln>
                  <a:solidFill>
                    <a:srgbClr val="068BA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ADE8D7E6-4FF6-47A7-B6B9-BBA144800952}"/>
                </a:ext>
              </a:extLst>
            </p:cNvPr>
            <p:cNvSpPr/>
            <p:nvPr/>
          </p:nvSpPr>
          <p:spPr>
            <a:xfrm>
              <a:off x="7249072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t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gcct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a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cggaa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B277A177-841C-436A-AF28-9F65F5F3989A}"/>
              </a:ext>
            </a:extLst>
          </p:cNvPr>
          <p:cNvGrpSpPr/>
          <p:nvPr/>
        </p:nvGrpSpPr>
        <p:grpSpPr>
          <a:xfrm>
            <a:off x="9518107" y="1237047"/>
            <a:ext cx="1795684" cy="2022456"/>
            <a:chOff x="9518107" y="1237047"/>
            <a:chExt cx="1795684" cy="2022456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A782FC3-156B-4238-93DE-4E045DC3EECB}"/>
                </a:ext>
              </a:extLst>
            </p:cNvPr>
            <p:cNvGrpSpPr/>
            <p:nvPr/>
          </p:nvGrpSpPr>
          <p:grpSpPr>
            <a:xfrm>
              <a:off x="9592989" y="1237047"/>
              <a:ext cx="1645920" cy="2022456"/>
              <a:chOff x="9592989" y="1237047"/>
              <a:chExt cx="1645920" cy="2022456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BA5D55AD-664A-4FEA-99BE-23BBBE01C4E4}"/>
                  </a:ext>
                </a:extLst>
              </p:cNvPr>
              <p:cNvSpPr/>
              <p:nvPr/>
            </p:nvSpPr>
            <p:spPr>
              <a:xfrm>
                <a:off x="9816081" y="2951726"/>
                <a:ext cx="323850" cy="307777"/>
              </a:xfrm>
              <a:prstGeom prst="ellipse">
                <a:avLst/>
              </a:prstGeom>
              <a:noFill/>
              <a:ln w="19050">
                <a:solidFill>
                  <a:srgbClr val="068BA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626F1191-1FA1-4DE7-ACDE-DC125660A328}"/>
                  </a:ext>
                </a:extLst>
              </p:cNvPr>
              <p:cNvSpPr/>
              <p:nvPr/>
            </p:nvSpPr>
            <p:spPr>
              <a:xfrm>
                <a:off x="9592989" y="1237047"/>
                <a:ext cx="1645920" cy="1645920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AB212B31-BA2B-4F22-82FC-655DD448EFCA}"/>
                  </a:ext>
                </a:extLst>
              </p:cNvPr>
              <p:cNvCxnSpPr>
                <a:cxnSpLocks/>
                <a:stCxn id="23" idx="2"/>
              </p:cNvCxnSpPr>
              <p:nvPr/>
            </p:nvCxnSpPr>
            <p:spPr>
              <a:xfrm flipH="1" flipV="1">
                <a:off x="9622633" y="2264571"/>
                <a:ext cx="193448" cy="841044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994F147D-C957-4D05-90EE-A4195E1BE1CD}"/>
                  </a:ext>
                </a:extLst>
              </p:cNvPr>
              <p:cNvCxnSpPr>
                <a:cxnSpLocks/>
                <a:stCxn id="23" idx="5"/>
              </p:cNvCxnSpPr>
              <p:nvPr/>
            </p:nvCxnSpPr>
            <p:spPr>
              <a:xfrm flipV="1">
                <a:off x="10092504" y="2781300"/>
                <a:ext cx="723134" cy="433130"/>
              </a:xfrm>
              <a:prstGeom prst="line">
                <a:avLst/>
              </a:prstGeom>
              <a:ln>
                <a:solidFill>
                  <a:srgbClr val="068BA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08F18D17-76DE-46EA-B146-04DEA194455E}"/>
                </a:ext>
              </a:extLst>
            </p:cNvPr>
            <p:cNvSpPr/>
            <p:nvPr/>
          </p:nvSpPr>
          <p:spPr>
            <a:xfrm>
              <a:off x="9518107" y="1829119"/>
              <a:ext cx="1795684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a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gtcgg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tag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2D036917-3D7A-4452-B6FE-8AF71A094E8C}"/>
              </a:ext>
            </a:extLst>
          </p:cNvPr>
          <p:cNvGrpSpPr/>
          <p:nvPr/>
        </p:nvGrpSpPr>
        <p:grpSpPr>
          <a:xfrm>
            <a:off x="7250802" y="3579509"/>
            <a:ext cx="1792224" cy="2020878"/>
            <a:chOff x="7250802" y="3579509"/>
            <a:chExt cx="1792224" cy="2020878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384D405-F3E6-47CD-9296-75A3065A28F9}"/>
                </a:ext>
              </a:extLst>
            </p:cNvPr>
            <p:cNvGrpSpPr/>
            <p:nvPr/>
          </p:nvGrpSpPr>
          <p:grpSpPr>
            <a:xfrm>
              <a:off x="7323954" y="3579509"/>
              <a:ext cx="1709553" cy="2020878"/>
              <a:chOff x="7323954" y="3579509"/>
              <a:chExt cx="1709553" cy="2020878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5A920EF-A485-4FE8-8E62-2CF38264AB34}"/>
                  </a:ext>
                </a:extLst>
              </p:cNvPr>
              <p:cNvSpPr/>
              <p:nvPr/>
            </p:nvSpPr>
            <p:spPr>
              <a:xfrm>
                <a:off x="8709657" y="5280347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F82943E8-982D-45E8-8930-202C5EC63F8F}"/>
                  </a:ext>
                </a:extLst>
              </p:cNvPr>
              <p:cNvSpPr/>
              <p:nvPr/>
            </p:nvSpPr>
            <p:spPr>
              <a:xfrm>
                <a:off x="7323954" y="3579509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F7A12E4F-999B-4588-8B58-496F884D683F}"/>
                  </a:ext>
                </a:extLst>
              </p:cNvPr>
              <p:cNvGrpSpPr/>
              <p:nvPr/>
            </p:nvGrpSpPr>
            <p:grpSpPr>
              <a:xfrm>
                <a:off x="7850982" y="4398740"/>
                <a:ext cx="1182525" cy="1158990"/>
                <a:chOff x="7784300" y="4398740"/>
                <a:chExt cx="1182525" cy="1158990"/>
              </a:xfrm>
            </p:grpSpPr>
            <p:cxnSp>
              <p:nvCxnSpPr>
                <p:cNvPr id="73" name="Straight Connector 72">
                  <a:extLst>
                    <a:ext uri="{FF2B5EF4-FFF2-40B4-BE49-F238E27FC236}">
                      <a16:creationId xmlns:a16="http://schemas.microsoft.com/office/drawing/2014/main" id="{1A28E537-FE8C-44DB-A51B-A80DC29049BA}"/>
                    </a:ext>
                  </a:extLst>
                </p:cNvPr>
                <p:cNvCxnSpPr/>
                <p:nvPr/>
              </p:nvCxnSpPr>
              <p:spPr>
                <a:xfrm flipH="1" flipV="1">
                  <a:off x="8903192" y="4398740"/>
                  <a:ext cx="63633" cy="1050175"/>
                </a:xfrm>
                <a:prstGeom prst="line">
                  <a:avLst/>
                </a:prstGeom>
                <a:ln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B4D3288C-F87B-40FC-8420-288DFA0248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7784300" y="5170040"/>
                  <a:ext cx="906102" cy="387690"/>
                </a:xfrm>
                <a:prstGeom prst="line">
                  <a:avLst/>
                </a:prstGeom>
                <a:ln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B9E9B970-9E24-48A4-8199-B0D0469D567B}"/>
                </a:ext>
              </a:extLst>
            </p:cNvPr>
            <p:cNvSpPr/>
            <p:nvPr/>
          </p:nvSpPr>
          <p:spPr>
            <a:xfrm>
              <a:off x="7250802" y="4128523"/>
              <a:ext cx="179222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t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gcct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ac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cggaag</a:t>
              </a:r>
              <a:r>
                <a:rPr lang="en-US" sz="1400" dirty="0">
                  <a:latin typeface="Courier New" panose="02070309020205020404" pitchFamily="49" charset="0"/>
                  <a:cs typeface="Courier New" panose="02070309020205020404" pitchFamily="49" charset="0"/>
                </a:rPr>
                <a:t> 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5786A28F-3C5F-4B6E-807D-2602504BC6F4}"/>
              </a:ext>
            </a:extLst>
          </p:cNvPr>
          <p:cNvGrpSpPr/>
          <p:nvPr/>
        </p:nvGrpSpPr>
        <p:grpSpPr>
          <a:xfrm>
            <a:off x="9518107" y="3579509"/>
            <a:ext cx="1795684" cy="2035361"/>
            <a:chOff x="9518107" y="3579509"/>
            <a:chExt cx="1795684" cy="2035361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1ED2C19F-1372-4E30-95DB-223D09E4F2B2}"/>
                </a:ext>
              </a:extLst>
            </p:cNvPr>
            <p:cNvGrpSpPr/>
            <p:nvPr/>
          </p:nvGrpSpPr>
          <p:grpSpPr>
            <a:xfrm>
              <a:off x="9592989" y="3579509"/>
              <a:ext cx="1645920" cy="2035361"/>
              <a:chOff x="9592989" y="3579509"/>
              <a:chExt cx="1645920" cy="2035361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4C2F9BFC-5452-4ED6-A659-B33DBF4E745A}"/>
                  </a:ext>
                </a:extLst>
              </p:cNvPr>
              <p:cNvSpPr/>
              <p:nvPr/>
            </p:nvSpPr>
            <p:spPr>
              <a:xfrm>
                <a:off x="9816081" y="5294830"/>
                <a:ext cx="323850" cy="320040"/>
              </a:xfrm>
              <a:prstGeom prst="ellipse">
                <a:avLst/>
              </a:prstGeom>
              <a:noFill/>
              <a:ln w="19050"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ED46802-EDAD-4E45-9926-7466B204EAB7}"/>
                  </a:ext>
                </a:extLst>
              </p:cNvPr>
              <p:cNvSpPr/>
              <p:nvPr/>
            </p:nvSpPr>
            <p:spPr>
              <a:xfrm>
                <a:off x="9592989" y="3579509"/>
                <a:ext cx="1645920" cy="1645920"/>
              </a:xfrm>
              <a:prstGeom prst="ellipse">
                <a:avLst/>
              </a:pr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30A0B649-1437-4B7D-BACC-D0E1457DCFD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9622633" y="4609510"/>
                <a:ext cx="193448" cy="841044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BE1828B4-7455-45B1-9A28-1E0EE8AC650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092504" y="5126239"/>
                <a:ext cx="723134" cy="43313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AEFD7EEB-2B7F-450B-A9CE-DF45DEA9D657}"/>
                </a:ext>
              </a:extLst>
            </p:cNvPr>
            <p:cNvSpPr/>
            <p:nvPr/>
          </p:nvSpPr>
          <p:spPr>
            <a:xfrm>
              <a:off x="9518107" y="4128523"/>
              <a:ext cx="179568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tcctgat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gtcgg</a:t>
              </a:r>
              <a:r>
                <a:rPr lang="en-US" sz="1400" b="1" dirty="0" err="1">
                  <a:solidFill>
                    <a:srgbClr val="C0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T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actag</a:t>
              </a:r>
              <a:endParaRPr lang="en-US" sz="1400" b="1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774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238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222E2C-9F81-47A2-98B5-065153BF1352}"/>
              </a:ext>
            </a:extLst>
          </p:cNvPr>
          <p:cNvGrpSpPr/>
          <p:nvPr/>
        </p:nvGrpSpPr>
        <p:grpSpPr>
          <a:xfrm>
            <a:off x="308008" y="5108624"/>
            <a:ext cx="2621235" cy="428568"/>
            <a:chOff x="308008" y="5060499"/>
            <a:chExt cx="2621235" cy="42856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1C580AF-02F9-444A-9B47-E1CE379222D0}"/>
                </a:ext>
              </a:extLst>
            </p:cNvPr>
            <p:cNvGrpSpPr/>
            <p:nvPr/>
          </p:nvGrpSpPr>
          <p:grpSpPr>
            <a:xfrm>
              <a:off x="1296104" y="5060499"/>
              <a:ext cx="1633139" cy="428568"/>
              <a:chOff x="1296104" y="5060499"/>
              <a:chExt cx="1633139" cy="42856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0D2BB-F5C5-4514-884D-9CD53FA6501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28" name="Left Brace 27">
                <a:extLst>
                  <a:ext uri="{FF2B5EF4-FFF2-40B4-BE49-F238E27FC236}">
                    <a16:creationId xmlns:a16="http://schemas.microsoft.com/office/drawing/2014/main" id="{98E16F93-A8CB-436D-9943-D87BA65E4A9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Left Brace 85">
                <a:extLst>
                  <a:ext uri="{FF2B5EF4-FFF2-40B4-BE49-F238E27FC236}">
                    <a16:creationId xmlns:a16="http://schemas.microsoft.com/office/drawing/2014/main" id="{FDD02F03-9894-4AF4-8F49-4D8D1793744E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8FE5394F-0B54-4B1B-B0AB-DF78EB0D935B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Left Brace 93">
                <a:extLst>
                  <a:ext uri="{FF2B5EF4-FFF2-40B4-BE49-F238E27FC236}">
                    <a16:creationId xmlns:a16="http://schemas.microsoft.com/office/drawing/2014/main" id="{7BF9E114-771B-4291-B567-8A2216CBE775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Left Brace 94">
                <a:extLst>
                  <a:ext uri="{FF2B5EF4-FFF2-40B4-BE49-F238E27FC236}">
                    <a16:creationId xmlns:a16="http://schemas.microsoft.com/office/drawing/2014/main" id="{38791113-C745-4741-9B7E-819B7A799A2F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402BEC5-F058-4730-99E5-2959E2AA6A4E}"/>
                </a:ext>
              </a:extLst>
            </p:cNvPr>
            <p:cNvGrpSpPr/>
            <p:nvPr/>
          </p:nvGrpSpPr>
          <p:grpSpPr>
            <a:xfrm>
              <a:off x="308008" y="5261542"/>
              <a:ext cx="1068405" cy="102865"/>
              <a:chOff x="308008" y="5261542"/>
              <a:chExt cx="1068405" cy="102865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E758284-21F4-4694-A172-470F332DAC3F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0F37D94-62A8-41C2-8A69-36B02B9D7B97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A331A3DB-D0E2-4A26-93B1-8EF6A167630B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C2B3FC-3BAC-4FD9-B43B-B80C9095CDF7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2B23653-F321-4CED-A5F2-A61C058AEAFD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519DDEF-BB14-4A7A-8AE7-95CAD16070EF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1C81471-E07B-4FC5-A911-346CCC05DAC6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D0006E1-B37E-466F-B5C1-5FECC33DE586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D6DA2F4-5C21-4394-8C15-D060AABBC1F1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47579F5-A839-4BE6-9E3F-46B86AFD2FF4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B60C3EF-D083-4608-9689-8EA11E6B8464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D57D6A14-9378-4E75-A087-71761326513F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BE9C3BB-84DA-47C6-B87B-090988FCFB65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24B056E-7AAF-448E-9766-66307F4BC9F2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A49F9CED-3AA6-4AFD-908A-3DFE659FDDF4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04E8F25D-8344-4018-A447-4CD8876E5740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6FDB7C16-FDC4-43E7-9B8C-074F4B6329DF}"/>
              </a:ext>
            </a:extLst>
          </p:cNvPr>
          <p:cNvGrpSpPr/>
          <p:nvPr/>
        </p:nvGrpSpPr>
        <p:grpSpPr>
          <a:xfrm>
            <a:off x="8848384" y="5108624"/>
            <a:ext cx="2918003" cy="428568"/>
            <a:chOff x="8848384" y="5060499"/>
            <a:chExt cx="2918003" cy="428568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F5B2BC66-A719-4672-BFB0-CA3498A7D807}"/>
                </a:ext>
              </a:extLst>
            </p:cNvPr>
            <p:cNvGrpSpPr/>
            <p:nvPr/>
          </p:nvGrpSpPr>
          <p:grpSpPr>
            <a:xfrm>
              <a:off x="9611921" y="5060499"/>
              <a:ext cx="1633139" cy="428568"/>
              <a:chOff x="1296104" y="5060499"/>
              <a:chExt cx="1633139" cy="428568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495AB2C-1BC9-48DE-B1F6-8B5CFC03D26D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I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191" name="Left Brace 190">
                <a:extLst>
                  <a:ext uri="{FF2B5EF4-FFF2-40B4-BE49-F238E27FC236}">
                    <a16:creationId xmlns:a16="http://schemas.microsoft.com/office/drawing/2014/main" id="{F7C9B67D-A69A-4FAD-9D87-8EF639BA1D49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A5400EFE-DADD-4DCE-B642-2089A043C18A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Left Brace 192">
                <a:extLst>
                  <a:ext uri="{FF2B5EF4-FFF2-40B4-BE49-F238E27FC236}">
                    <a16:creationId xmlns:a16="http://schemas.microsoft.com/office/drawing/2014/main" id="{DAF3AC0E-2005-40AB-BBD5-DBB6F12B76D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4" name="Left Brace 193">
                <a:extLst>
                  <a:ext uri="{FF2B5EF4-FFF2-40B4-BE49-F238E27FC236}">
                    <a16:creationId xmlns:a16="http://schemas.microsoft.com/office/drawing/2014/main" id="{A44121B5-8D54-4873-ADA0-71C306A880B1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5" name="Left Brace 194">
                <a:extLst>
                  <a:ext uri="{FF2B5EF4-FFF2-40B4-BE49-F238E27FC236}">
                    <a16:creationId xmlns:a16="http://schemas.microsoft.com/office/drawing/2014/main" id="{9828E030-0DC9-4755-B7C6-D4D793169164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C59B2E6-4EE7-419F-84EF-6B7C316CEC1D}"/>
                </a:ext>
              </a:extLst>
            </p:cNvPr>
            <p:cNvGrpSpPr/>
            <p:nvPr/>
          </p:nvGrpSpPr>
          <p:grpSpPr>
            <a:xfrm>
              <a:off x="8848384" y="5271049"/>
              <a:ext cx="865999" cy="102865"/>
              <a:chOff x="8848384" y="5271049"/>
              <a:chExt cx="865999" cy="102865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28D14843-608B-4F72-9937-94B6E70E551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6F0F54E0-323F-4727-932F-9C653C4E2F9A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FF609F02-3E43-40DE-B035-444B1788CF32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4930ADB4-87B1-46E8-AA2E-18330B592884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62B6916-9555-4995-A682-BF0FFE7E9F9A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E9F69456-7C49-407B-9335-461D1B598FD1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EC22249-DF01-42CC-BC30-462CC9D4AA47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AB67C7-EE67-450C-BA2D-30D3B642675A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7669BF-E1CC-401A-BC80-EFFAA82BA11C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A38585C4-BE71-4BB6-B485-D35A5FBD1236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2DC35C8-CD4B-4163-AB92-A9AC0A598E75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BDE5F98F-0D74-47D4-99D0-95A30CD324FC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6E617BCD-8795-46D0-B921-216CBAF5BAA3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79F909-6B03-437E-925B-370A3A715D95}"/>
                </a:ext>
              </a:extLst>
            </p:cNvPr>
            <p:cNvGrpSpPr/>
            <p:nvPr/>
          </p:nvGrpSpPr>
          <p:grpSpPr>
            <a:xfrm>
              <a:off x="11120792" y="5264034"/>
              <a:ext cx="645595" cy="102865"/>
              <a:chOff x="11120792" y="5264034"/>
              <a:chExt cx="645595" cy="102865"/>
            </a:xfrm>
          </p:grpSpPr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F376D711-1B20-4A09-BF86-8A1192291A7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CF9820E0-2476-4EB0-99F7-A70E0BA44A1F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B1B69107-0492-48A8-9FE1-78ADB00FE67D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578A300-E500-4447-B376-AD3A581A3A73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DA7A64D-2637-4ECB-BFB3-ADB20E63453A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00C6C03-81AA-4E38-8A33-6C22DCF95C77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CD4B0EE6-6F70-4016-918D-A9F83058E58B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AEA05DEF-3E20-448F-BDB3-263F5FFE8E53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4AA86F23-396F-406D-8A89-A24CB2886C9C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32CF56B0-5FE9-40FA-ABE3-F7BFF63EE4DE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667318F-78ED-44C0-B744-779A230C1C94}"/>
              </a:ext>
            </a:extLst>
          </p:cNvPr>
          <p:cNvGrpSpPr/>
          <p:nvPr/>
        </p:nvGrpSpPr>
        <p:grpSpPr>
          <a:xfrm>
            <a:off x="2809877" y="5108624"/>
            <a:ext cx="6173552" cy="428568"/>
            <a:chOff x="2809877" y="5060499"/>
            <a:chExt cx="6173552" cy="428568"/>
          </a:xfrm>
        </p:grpSpPr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C37A77A8-6745-46D8-B6D1-02221E177BF4}"/>
                </a:ext>
              </a:extLst>
            </p:cNvPr>
            <p:cNvGrpSpPr/>
            <p:nvPr/>
          </p:nvGrpSpPr>
          <p:grpSpPr>
            <a:xfrm>
              <a:off x="7350290" y="5060499"/>
              <a:ext cx="1633139" cy="428568"/>
              <a:chOff x="1296104" y="5060499"/>
              <a:chExt cx="1633139" cy="428568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048FAFA-2A2E-4517-8F4C-8AF47C5E5D6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184" name="Left Brace 183">
                <a:extLst>
                  <a:ext uri="{FF2B5EF4-FFF2-40B4-BE49-F238E27FC236}">
                    <a16:creationId xmlns:a16="http://schemas.microsoft.com/office/drawing/2014/main" id="{7A2F1BBE-3BE2-4260-8910-63A1F0C1D8D6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Left Brace 184">
                <a:extLst>
                  <a:ext uri="{FF2B5EF4-FFF2-40B4-BE49-F238E27FC236}">
                    <a16:creationId xmlns:a16="http://schemas.microsoft.com/office/drawing/2014/main" id="{2C633750-C3D1-4B1D-AA3B-88C2CC1FAD96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Left Brace 185">
                <a:extLst>
                  <a:ext uri="{FF2B5EF4-FFF2-40B4-BE49-F238E27FC236}">
                    <a16:creationId xmlns:a16="http://schemas.microsoft.com/office/drawing/2014/main" id="{F534AAF3-1011-4448-8FD7-C58988F9EA58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Left Brace 186">
                <a:extLst>
                  <a:ext uri="{FF2B5EF4-FFF2-40B4-BE49-F238E27FC236}">
                    <a16:creationId xmlns:a16="http://schemas.microsoft.com/office/drawing/2014/main" id="{000C7059-212F-470C-9B0F-EFEE731E48A0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Left Brace 187">
                <a:extLst>
                  <a:ext uri="{FF2B5EF4-FFF2-40B4-BE49-F238E27FC236}">
                    <a16:creationId xmlns:a16="http://schemas.microsoft.com/office/drawing/2014/main" id="{5E771B81-BC38-431F-A7CD-28D147BAA09D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09B39F0-77A9-4E2B-AB0A-E1419B4F20F9}"/>
                </a:ext>
              </a:extLst>
            </p:cNvPr>
            <p:cNvGrpSpPr/>
            <p:nvPr/>
          </p:nvGrpSpPr>
          <p:grpSpPr>
            <a:xfrm>
              <a:off x="2809877" y="5247265"/>
              <a:ext cx="4622004" cy="122248"/>
              <a:chOff x="2809877" y="5247265"/>
              <a:chExt cx="4622004" cy="122248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1F5C516-DCC8-4231-BB55-A83171BE943D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0BF42A1-2999-4B9C-8CDE-8267F32547D0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4EDCBC8-E20F-43A8-8E61-87112097B529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7DBC5A50-635D-4A14-B3B8-B1EC791A1500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F3FC615-EE3D-454A-8363-2A0B13533E51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16AB0BDE-30B5-4EFE-A6AD-F9AA1EC3FB7E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52A30EAA-B92C-4420-AA0C-2C059C1D5EBF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9087767-1DD6-421C-B8DB-E73F0EAB480F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02A6F79-D0C0-4573-BB5D-B0E5CD47ABBB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22C56730-E1ED-4249-81F9-BF53085B40CB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2EAF264-ABD2-4EE4-8449-38B6C82FCE1B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B882C68-5141-459C-8CE0-B205A5C655D6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744939CD-24C5-4670-B061-C913A9C5D9D8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F914146-6E1B-4649-80E9-B0E394BC0F4B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D62ED73-E6F4-4629-8D52-A93DF40D80FA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D2063F2-65FF-4F7A-B2C4-612D8D8D4D84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B44A59AB-CF19-466D-B9D8-2E4DFA3C932B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B9966827-295B-48B1-8F12-03849BC2793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053C848-3766-48C3-83FB-6AFCF4E0452E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0ECEFFD7-525B-4B6E-A27E-1012DFC245E1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0264206C-DC5D-439A-B1A1-EABC197DA6EE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273802A9-C38A-4A22-8679-6C10362A8E2E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BF37A75-188B-47DD-AC57-1FE5761B0FAA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4C942D1-4005-4FF5-A9C1-BF58EB04BE36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4602C7B-227A-4717-98FE-3F235632CFFF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7EED540-6FE5-4616-966A-899302EDFE93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DE41A0C7-5FA6-4DC4-A3D8-916B695648DB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CBA2C78-5814-4948-A77F-86A9B36035BB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FB10F6D-DA37-42FF-BD24-A34CC7C6613F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0E2608CB-4AC0-4D04-8E07-164F3CD4AA38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5E373502-08F6-4FBA-905C-FBF8764750CA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4F83403-E145-4174-B805-EF364B0B23DA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EF037416-FE81-413D-96E1-6D96005E214B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2FA3B76-52E3-4EA0-B306-D43A5F1664FE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9FFDE0E4-005F-40EE-95B0-7114BDE73794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47EDF06D-11C0-431E-A6BF-CFAA5A82E055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03E13FDB-1CE7-427B-A5E9-CFB00A9CE6DF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0EA8190-DB12-4D93-923C-7FFB996EBFD2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8825279-BBEE-47A1-9B14-FE54577BE7C0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17483A0D-9453-4563-874B-492876078281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1D1A4BA-11EF-4290-BC3D-80F4F77E375F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721C7755-CD0F-41B7-9445-67319D659E0B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996A83E-4F01-4C3E-8E02-F5DBD30C1273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2A0D13F9-41CC-4A67-88F1-D61B679BADD5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27BFB89E-D5E8-4662-AFDA-96B620288566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72F15A55-5F4A-4E04-95A0-F457DC56303F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72CB6CF-8587-4851-B376-F6C2AFBED34B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06586F7-83D6-44CB-8ABB-3B5B8F53C7EB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0840472A-FF5C-4529-9043-7B24A9C57E86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B28D2C40-24C7-429C-AF1E-4F332655042A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BBCEE86-E035-448E-9E13-A54209B7D03D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2A593E93-FEAE-4CA6-8B88-EBEADA8F6B28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75EADE92-D20D-4C8D-9E91-89E998FB9DB3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615034B9-0F83-4F1A-8BBF-92295FB976BF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3AE4FB2C-65DD-4BCE-A190-3A3391474F00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6805C953-2768-4862-B663-C45B78F510DF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B3E4DFFC-0489-41E0-AC64-57A888510685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97E8085A-B78B-4CB7-AB30-C89FBB49A5E7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5054F89-7F4D-4BCB-81B6-31A9A92B8BA6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DF87D576-8F09-429F-A572-A8B4A4D12DCB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211BEB8-BE92-4D0D-BD86-099E34C060E8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11A1AF04-907D-4136-9B0A-C8888459EA56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700B1EA4-972E-4A2F-B8D7-6157DFD38EA6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6BE0CA02-1F88-4DAE-A204-E49584C10D2B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9C1EAA51-B25D-4189-97AB-00508BE8EA82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F1E3688C-C4C4-4D2C-996C-20082EE9B5C4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3CC5653-07BB-40F0-AFC5-EC90C0E26FAD}"/>
                  </a:ext>
                </a:extLst>
              </p:cNvPr>
              <p:cNvSpPr/>
              <p:nvPr/>
            </p:nvSpPr>
            <p:spPr>
              <a:xfrm>
                <a:off x="2809877" y="5275299"/>
                <a:ext cx="4622004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  <a:gd name="connsiteX0" fmla="*/ 4643436 w 4643436"/>
                  <a:gd name="connsiteY0" fmla="*/ 27745 h 70610"/>
                  <a:gd name="connsiteX1" fmla="*/ 4552949 w 4643436"/>
                  <a:gd name="connsiteY1" fmla="*/ 63464 h 70610"/>
                  <a:gd name="connsiteX2" fmla="*/ 4424361 w 4643436"/>
                  <a:gd name="connsiteY2" fmla="*/ 68226 h 70610"/>
                  <a:gd name="connsiteX3" fmla="*/ 4283868 w 4643436"/>
                  <a:gd name="connsiteY3" fmla="*/ 34889 h 70610"/>
                  <a:gd name="connsiteX4" fmla="*/ 4219574 w 4643436"/>
                  <a:gd name="connsiteY4" fmla="*/ 15839 h 70610"/>
                  <a:gd name="connsiteX5" fmla="*/ 3995736 w 4643436"/>
                  <a:gd name="connsiteY5" fmla="*/ 61082 h 70610"/>
                  <a:gd name="connsiteX6" fmla="*/ 3786186 w 4643436"/>
                  <a:gd name="connsiteY6" fmla="*/ 49176 h 70610"/>
                  <a:gd name="connsiteX7" fmla="*/ 3721893 w 4643436"/>
                  <a:gd name="connsiteY7" fmla="*/ 18220 h 70610"/>
                  <a:gd name="connsiteX8" fmla="*/ 3581399 w 4643436"/>
                  <a:gd name="connsiteY8" fmla="*/ 27745 h 70610"/>
                  <a:gd name="connsiteX9" fmla="*/ 3378993 w 4643436"/>
                  <a:gd name="connsiteY9" fmla="*/ 70607 h 70610"/>
                  <a:gd name="connsiteX10" fmla="*/ 3245643 w 4643436"/>
                  <a:gd name="connsiteY10" fmla="*/ 25364 h 70610"/>
                  <a:gd name="connsiteX11" fmla="*/ 3114674 w 4643436"/>
                  <a:gd name="connsiteY11" fmla="*/ 34889 h 70610"/>
                  <a:gd name="connsiteX12" fmla="*/ 2902743 w 4643436"/>
                  <a:gd name="connsiteY12" fmla="*/ 63464 h 70610"/>
                  <a:gd name="connsiteX13" fmla="*/ 2755105 w 4643436"/>
                  <a:gd name="connsiteY13" fmla="*/ 46794 h 70610"/>
                  <a:gd name="connsiteX14" fmla="*/ 2621755 w 4643436"/>
                  <a:gd name="connsiteY14" fmla="*/ 15838 h 70610"/>
                  <a:gd name="connsiteX15" fmla="*/ 2347911 w 4643436"/>
                  <a:gd name="connsiteY15" fmla="*/ 68226 h 70610"/>
                  <a:gd name="connsiteX16" fmla="*/ 2159792 w 4643436"/>
                  <a:gd name="connsiteY16" fmla="*/ 25363 h 70610"/>
                  <a:gd name="connsiteX17" fmla="*/ 1874042 w 4643436"/>
                  <a:gd name="connsiteY17" fmla="*/ 44413 h 70610"/>
                  <a:gd name="connsiteX18" fmla="*/ 1659731 w 4643436"/>
                  <a:gd name="connsiteY18" fmla="*/ 1549 h 70610"/>
                  <a:gd name="connsiteX19" fmla="*/ 1340642 w 4643436"/>
                  <a:gd name="connsiteY19" fmla="*/ 49176 h 70610"/>
                  <a:gd name="connsiteX20" fmla="*/ 1166811 w 4643436"/>
                  <a:gd name="connsiteY20" fmla="*/ 11077 h 70610"/>
                  <a:gd name="connsiteX21" fmla="*/ 902492 w 4643436"/>
                  <a:gd name="connsiteY21" fmla="*/ 56320 h 70610"/>
                  <a:gd name="connsiteX22" fmla="*/ 626268 w 4643436"/>
                  <a:gd name="connsiteY22" fmla="*/ 8695 h 70610"/>
                  <a:gd name="connsiteX23" fmla="*/ 380999 w 4643436"/>
                  <a:gd name="connsiteY23" fmla="*/ 39651 h 70610"/>
                  <a:gd name="connsiteX24" fmla="*/ 266699 w 4643436"/>
                  <a:gd name="connsiteY24" fmla="*/ 61083 h 70610"/>
                  <a:gd name="connsiteX25" fmla="*/ 0 w 4643436"/>
                  <a:gd name="connsiteY25" fmla="*/ 15839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622004" h="70610">
                    <a:moveTo>
                      <a:pt x="4622004" y="27745"/>
                    </a:moveTo>
                    <a:cubicBezTo>
                      <a:pt x="4595016" y="42231"/>
                      <a:pt x="4568029" y="56717"/>
                      <a:pt x="4531517" y="63464"/>
                    </a:cubicBezTo>
                    <a:cubicBezTo>
                      <a:pt x="4495005" y="70211"/>
                      <a:pt x="4447776" y="72988"/>
                      <a:pt x="4402929" y="68226"/>
                    </a:cubicBezTo>
                    <a:cubicBezTo>
                      <a:pt x="4358082" y="63464"/>
                      <a:pt x="4296567" y="43620"/>
                      <a:pt x="4262436" y="34889"/>
                    </a:cubicBezTo>
                    <a:cubicBezTo>
                      <a:pt x="4228305" y="26158"/>
                      <a:pt x="4246164" y="11474"/>
                      <a:pt x="4198142" y="15839"/>
                    </a:cubicBezTo>
                    <a:cubicBezTo>
                      <a:pt x="4150120" y="20204"/>
                      <a:pt x="4046535" y="55526"/>
                      <a:pt x="3974304" y="61082"/>
                    </a:cubicBezTo>
                    <a:cubicBezTo>
                      <a:pt x="3902073" y="66638"/>
                      <a:pt x="3810395" y="56320"/>
                      <a:pt x="3764754" y="49176"/>
                    </a:cubicBezTo>
                    <a:cubicBezTo>
                      <a:pt x="3719113" y="42032"/>
                      <a:pt x="3734592" y="21792"/>
                      <a:pt x="3700461" y="18220"/>
                    </a:cubicBezTo>
                    <a:cubicBezTo>
                      <a:pt x="3666330" y="14648"/>
                      <a:pt x="3617117" y="19014"/>
                      <a:pt x="3559967" y="27745"/>
                    </a:cubicBezTo>
                    <a:cubicBezTo>
                      <a:pt x="3502817" y="36476"/>
                      <a:pt x="3413520" y="71004"/>
                      <a:pt x="3357561" y="70607"/>
                    </a:cubicBezTo>
                    <a:cubicBezTo>
                      <a:pt x="3301602" y="70210"/>
                      <a:pt x="3268264" y="31317"/>
                      <a:pt x="3224211" y="25364"/>
                    </a:cubicBezTo>
                    <a:cubicBezTo>
                      <a:pt x="3180158" y="19411"/>
                      <a:pt x="3150392" y="28539"/>
                      <a:pt x="3093242" y="34889"/>
                    </a:cubicBezTo>
                    <a:cubicBezTo>
                      <a:pt x="3036092" y="41239"/>
                      <a:pt x="2941239" y="61480"/>
                      <a:pt x="2881311" y="63464"/>
                    </a:cubicBezTo>
                    <a:cubicBezTo>
                      <a:pt x="2821383" y="65448"/>
                      <a:pt x="2768597" y="57114"/>
                      <a:pt x="2733673" y="46794"/>
                    </a:cubicBezTo>
                    <a:cubicBezTo>
                      <a:pt x="2698749" y="36474"/>
                      <a:pt x="2667395" y="21791"/>
                      <a:pt x="2600323" y="15838"/>
                    </a:cubicBezTo>
                    <a:cubicBezTo>
                      <a:pt x="2533251" y="9885"/>
                      <a:pt x="2412601" y="62273"/>
                      <a:pt x="2326479" y="68226"/>
                    </a:cubicBezTo>
                    <a:lnTo>
                      <a:pt x="2138360" y="25363"/>
                    </a:lnTo>
                    <a:cubicBezTo>
                      <a:pt x="2060176" y="18219"/>
                      <a:pt x="1995088" y="40047"/>
                      <a:pt x="1852610" y="44413"/>
                    </a:cubicBezTo>
                    <a:cubicBezTo>
                      <a:pt x="1781173" y="30125"/>
                      <a:pt x="1757361" y="49174"/>
                      <a:pt x="1638299" y="1549"/>
                    </a:cubicBezTo>
                    <a:cubicBezTo>
                      <a:pt x="1549002" y="-5991"/>
                      <a:pt x="1485501" y="14648"/>
                      <a:pt x="1319210" y="49176"/>
                    </a:cubicBezTo>
                    <a:cubicBezTo>
                      <a:pt x="1222769" y="54733"/>
                      <a:pt x="1239438" y="27349"/>
                      <a:pt x="1145379" y="11077"/>
                    </a:cubicBezTo>
                    <a:cubicBezTo>
                      <a:pt x="1081482" y="6315"/>
                      <a:pt x="939003" y="51955"/>
                      <a:pt x="881060" y="56320"/>
                    </a:cubicBezTo>
                    <a:cubicBezTo>
                      <a:pt x="792557" y="63067"/>
                      <a:pt x="721120" y="61876"/>
                      <a:pt x="604836" y="8695"/>
                    </a:cubicBezTo>
                    <a:cubicBezTo>
                      <a:pt x="518317" y="2345"/>
                      <a:pt x="429814" y="30126"/>
                      <a:pt x="359567" y="39651"/>
                    </a:cubicBezTo>
                    <a:cubicBezTo>
                      <a:pt x="294876" y="42429"/>
                      <a:pt x="296067" y="63861"/>
                      <a:pt x="245267" y="61083"/>
                    </a:cubicBezTo>
                    <a:cubicBezTo>
                      <a:pt x="194467" y="58305"/>
                      <a:pt x="122237" y="18617"/>
                      <a:pt x="0" y="13457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BE778F6C-0B47-4CD0-A93A-0A5072044569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136E370-B27E-40C7-B336-094DB9D44282}"/>
              </a:ext>
            </a:extLst>
          </p:cNvPr>
          <p:cNvGrpSpPr/>
          <p:nvPr/>
        </p:nvGrpSpPr>
        <p:grpSpPr>
          <a:xfrm>
            <a:off x="307838" y="2812316"/>
            <a:ext cx="2621235" cy="428568"/>
            <a:chOff x="307838" y="2764191"/>
            <a:chExt cx="2621235" cy="428568"/>
          </a:xfrm>
        </p:grpSpPr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37F0EFBA-2D2A-4547-865B-968AF58D1619}"/>
                </a:ext>
              </a:extLst>
            </p:cNvPr>
            <p:cNvGrpSpPr/>
            <p:nvPr/>
          </p:nvGrpSpPr>
          <p:grpSpPr>
            <a:xfrm>
              <a:off x="1295934" y="2764191"/>
              <a:ext cx="1633139" cy="428568"/>
              <a:chOff x="1296104" y="5060499"/>
              <a:chExt cx="1633139" cy="428568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B2530491-C15A-48CF-B852-8A2019574643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P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347" name="Left Brace 346">
                <a:extLst>
                  <a:ext uri="{FF2B5EF4-FFF2-40B4-BE49-F238E27FC236}">
                    <a16:creationId xmlns:a16="http://schemas.microsoft.com/office/drawing/2014/main" id="{EC8EF87B-1B4B-4486-8122-F6F16837C3B1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8" name="Left Brace 347">
                <a:extLst>
                  <a:ext uri="{FF2B5EF4-FFF2-40B4-BE49-F238E27FC236}">
                    <a16:creationId xmlns:a16="http://schemas.microsoft.com/office/drawing/2014/main" id="{B660C806-5365-456B-8267-3B93B7B01591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9" name="Left Brace 348">
                <a:extLst>
                  <a:ext uri="{FF2B5EF4-FFF2-40B4-BE49-F238E27FC236}">
                    <a16:creationId xmlns:a16="http://schemas.microsoft.com/office/drawing/2014/main" id="{F88B1166-37B7-4B30-87AF-D2E513B89940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0" name="Left Brace 349">
                <a:extLst>
                  <a:ext uri="{FF2B5EF4-FFF2-40B4-BE49-F238E27FC236}">
                    <a16:creationId xmlns:a16="http://schemas.microsoft.com/office/drawing/2014/main" id="{309FE0AC-9E78-4B0C-A832-5899768A0264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1" name="Left Brace 350">
                <a:extLst>
                  <a:ext uri="{FF2B5EF4-FFF2-40B4-BE49-F238E27FC236}">
                    <a16:creationId xmlns:a16="http://schemas.microsoft.com/office/drawing/2014/main" id="{B22E3173-E8A5-48DE-AD30-213F71A6566C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2" name="Group 351">
              <a:extLst>
                <a:ext uri="{FF2B5EF4-FFF2-40B4-BE49-F238E27FC236}">
                  <a16:creationId xmlns:a16="http://schemas.microsoft.com/office/drawing/2014/main" id="{A59706B5-FA15-486E-BDC4-E6FA99BC5800}"/>
                </a:ext>
              </a:extLst>
            </p:cNvPr>
            <p:cNvGrpSpPr/>
            <p:nvPr/>
          </p:nvGrpSpPr>
          <p:grpSpPr>
            <a:xfrm>
              <a:off x="307838" y="2965234"/>
              <a:ext cx="1068405" cy="102865"/>
              <a:chOff x="308008" y="5261542"/>
              <a:chExt cx="1068405" cy="102865"/>
            </a:xfrm>
          </p:grpSpPr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9CB19B87-E3FF-4B67-AAC7-1E0B519D58BB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01F01768-E413-4A5B-B78D-A341D4327B3F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51E7BB66-9D07-464D-8B73-C3643795C9EC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8D54EEEE-941D-4A93-8ED1-1C9489F6B759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8D5D2538-043F-4556-9846-A07D990B2C50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DDB8F437-D0E4-49DE-8D6C-6B5F84F71A16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18FFFB6F-A5C7-42D6-B320-10FDC195C15E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0" name="Oval 359">
                <a:extLst>
                  <a:ext uri="{FF2B5EF4-FFF2-40B4-BE49-F238E27FC236}">
                    <a16:creationId xmlns:a16="http://schemas.microsoft.com/office/drawing/2014/main" id="{AD62E4D4-7A19-40B5-B2BE-CC19EC37AB01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561743C2-9BA9-4AC7-9F6A-8AE898E5E3D9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B59B1DF3-4C25-44BC-B15E-413B17DF4D9F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E1B775D6-4269-4D36-ABBD-CD7183D0D055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F292C415-6767-4761-9E14-65B04235C785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709E0A11-0996-41FF-8910-93B35EEB2214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6" name="Oval 365">
                <a:extLst>
                  <a:ext uri="{FF2B5EF4-FFF2-40B4-BE49-F238E27FC236}">
                    <a16:creationId xmlns:a16="http://schemas.microsoft.com/office/drawing/2014/main" id="{02033202-5D52-4E07-8F9F-C5B4716552A1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CF34491F-60A0-494F-B0B3-0FC6D03AE0B8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4DFAC19D-6588-4AD2-8980-EC4247CB22F7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8" name="Group 477">
            <a:extLst>
              <a:ext uri="{FF2B5EF4-FFF2-40B4-BE49-F238E27FC236}">
                <a16:creationId xmlns:a16="http://schemas.microsoft.com/office/drawing/2014/main" id="{BF7DA6EF-CD6C-446F-BB54-134164212361}"/>
              </a:ext>
            </a:extLst>
          </p:cNvPr>
          <p:cNvGrpSpPr/>
          <p:nvPr/>
        </p:nvGrpSpPr>
        <p:grpSpPr>
          <a:xfrm>
            <a:off x="8848214" y="2812316"/>
            <a:ext cx="2918003" cy="428568"/>
            <a:chOff x="8848214" y="2764191"/>
            <a:chExt cx="2918003" cy="428568"/>
          </a:xfrm>
        </p:grpSpPr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093434BA-B2FB-47C6-9F3B-E2F0BB34907E}"/>
                </a:ext>
              </a:extLst>
            </p:cNvPr>
            <p:cNvGrpSpPr/>
            <p:nvPr/>
          </p:nvGrpSpPr>
          <p:grpSpPr>
            <a:xfrm>
              <a:off x="9611751" y="2764191"/>
              <a:ext cx="1633139" cy="428568"/>
              <a:chOff x="1296104" y="5060499"/>
              <a:chExt cx="1633139" cy="428568"/>
            </a:xfrm>
          </p:grpSpPr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C230612D-405A-4759-915C-9520B4E9345F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378" name="Left Brace 377">
                <a:extLst>
                  <a:ext uri="{FF2B5EF4-FFF2-40B4-BE49-F238E27FC236}">
                    <a16:creationId xmlns:a16="http://schemas.microsoft.com/office/drawing/2014/main" id="{350BDAA6-646F-40F1-B1D7-F3ACB8F7FB0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9" name="Left Brace 378">
                <a:extLst>
                  <a:ext uri="{FF2B5EF4-FFF2-40B4-BE49-F238E27FC236}">
                    <a16:creationId xmlns:a16="http://schemas.microsoft.com/office/drawing/2014/main" id="{E9EE0A69-912C-4B56-B866-D55AB4E2A385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0" name="Left Brace 379">
                <a:extLst>
                  <a:ext uri="{FF2B5EF4-FFF2-40B4-BE49-F238E27FC236}">
                    <a16:creationId xmlns:a16="http://schemas.microsoft.com/office/drawing/2014/main" id="{BD9E445B-F364-4738-AAD6-3009E0384A2D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1" name="Left Brace 380">
                <a:extLst>
                  <a:ext uri="{FF2B5EF4-FFF2-40B4-BE49-F238E27FC236}">
                    <a16:creationId xmlns:a16="http://schemas.microsoft.com/office/drawing/2014/main" id="{6B593A22-8A7A-4437-8EA3-FDE2F2ABDB47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2" name="Left Brace 381">
                <a:extLst>
                  <a:ext uri="{FF2B5EF4-FFF2-40B4-BE49-F238E27FC236}">
                    <a16:creationId xmlns:a16="http://schemas.microsoft.com/office/drawing/2014/main" id="{5865602F-2B9F-4C02-8CC6-FA1D75B52AB5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B7BE2CCA-5CD6-4DD0-A991-FBE4D4C2ED21}"/>
                </a:ext>
              </a:extLst>
            </p:cNvPr>
            <p:cNvGrpSpPr/>
            <p:nvPr/>
          </p:nvGrpSpPr>
          <p:grpSpPr>
            <a:xfrm>
              <a:off x="8848214" y="2974741"/>
              <a:ext cx="865999" cy="102865"/>
              <a:chOff x="8848384" y="5271049"/>
              <a:chExt cx="865999" cy="102865"/>
            </a:xfrm>
          </p:grpSpPr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1AA74550-F169-45EF-82E4-07A8BB68DB8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77166D8D-46E7-49A4-83CD-8AD3B50956F6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4D387019-5220-4B95-A9FB-80671AC64226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73D011E5-FED8-4F59-9AD6-F127C2936F8E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7712DCF3-A6B4-461A-AE60-B7C9F6A25094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DF66E90C-3A43-4117-B0AB-2A642CCB0DB8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959C1A23-05D4-4921-9F14-7DF4AC33DE81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63D4C819-626E-40D5-BDEB-3F57F10487FC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FA6B09A-A40D-49C4-99C8-0825DF386451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29DCEE71-485C-4E6D-87D0-279EC8577A34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BCB7E02D-4332-4B2A-AEA5-039F9FFA4FE0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3C02E6FE-20D2-4F67-9125-BDF152CE7AA3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1F63F091-4A2C-4B5C-BC4F-1BA9BC19E481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D5EDF7EC-A7F6-456F-9FCC-FE71771B763D}"/>
                </a:ext>
              </a:extLst>
            </p:cNvPr>
            <p:cNvGrpSpPr/>
            <p:nvPr/>
          </p:nvGrpSpPr>
          <p:grpSpPr>
            <a:xfrm>
              <a:off x="11120622" y="2967726"/>
              <a:ext cx="645595" cy="102865"/>
              <a:chOff x="11120792" y="5264034"/>
              <a:chExt cx="645595" cy="102865"/>
            </a:xfrm>
          </p:grpSpPr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CCDDA3BC-1FEA-4CC2-99E1-922B41734BD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A755EBD6-CC58-44CC-92B5-C855C67396BD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909B9337-7BB5-4E06-9B93-CC2517EB3EB5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F1121DEE-2F40-42A1-B1B5-0E332166C7A4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2" name="Oval 401">
                <a:extLst>
                  <a:ext uri="{FF2B5EF4-FFF2-40B4-BE49-F238E27FC236}">
                    <a16:creationId xmlns:a16="http://schemas.microsoft.com/office/drawing/2014/main" id="{E3E00C6C-F4F1-4EAD-82A6-874F6C4ABA0B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3" name="Oval 402">
                <a:extLst>
                  <a:ext uri="{FF2B5EF4-FFF2-40B4-BE49-F238E27FC236}">
                    <a16:creationId xmlns:a16="http://schemas.microsoft.com/office/drawing/2014/main" id="{79CB6C44-D3BA-4B9D-B5A3-0F0938BF473D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4" name="Oval 403">
                <a:extLst>
                  <a:ext uri="{FF2B5EF4-FFF2-40B4-BE49-F238E27FC236}">
                    <a16:creationId xmlns:a16="http://schemas.microsoft.com/office/drawing/2014/main" id="{3E8417A9-E312-4136-A193-C0E3D835612A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FDF47F1F-DE51-42BB-9301-166BD3FD8631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6" name="Oval 405">
                <a:extLst>
                  <a:ext uri="{FF2B5EF4-FFF2-40B4-BE49-F238E27FC236}">
                    <a16:creationId xmlns:a16="http://schemas.microsoft.com/office/drawing/2014/main" id="{6DB44F82-806F-4862-B2DF-162E3CD29F81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142330E2-AB89-4850-9086-FE5FF3CD8957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8DBF461E-97C7-4F7B-9AB8-DDFA866F039F}"/>
              </a:ext>
            </a:extLst>
          </p:cNvPr>
          <p:cNvGrpSpPr/>
          <p:nvPr/>
        </p:nvGrpSpPr>
        <p:grpSpPr>
          <a:xfrm>
            <a:off x="2841939" y="2812316"/>
            <a:ext cx="6141320" cy="428568"/>
            <a:chOff x="2841939" y="2764191"/>
            <a:chExt cx="6141320" cy="428568"/>
          </a:xfrm>
        </p:grpSpPr>
        <p:grpSp>
          <p:nvGrpSpPr>
            <p:cNvPr id="369" name="Group 368">
              <a:extLst>
                <a:ext uri="{FF2B5EF4-FFF2-40B4-BE49-F238E27FC236}">
                  <a16:creationId xmlns:a16="http://schemas.microsoft.com/office/drawing/2014/main" id="{58A2CD67-4737-4A8D-824F-7E936367C1E1}"/>
                </a:ext>
              </a:extLst>
            </p:cNvPr>
            <p:cNvGrpSpPr/>
            <p:nvPr/>
          </p:nvGrpSpPr>
          <p:grpSpPr>
            <a:xfrm>
              <a:off x="7350120" y="2764191"/>
              <a:ext cx="1633139" cy="428568"/>
              <a:chOff x="1296104" y="5060499"/>
              <a:chExt cx="1633139" cy="428568"/>
            </a:xfrm>
          </p:grpSpPr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47D11CBB-F6FF-452C-98A2-8BF0C0368876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371" name="Left Brace 370">
                <a:extLst>
                  <a:ext uri="{FF2B5EF4-FFF2-40B4-BE49-F238E27FC236}">
                    <a16:creationId xmlns:a16="http://schemas.microsoft.com/office/drawing/2014/main" id="{3500C1A1-238C-494A-A291-41257B116DBB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2" name="Left Brace 371">
                <a:extLst>
                  <a:ext uri="{FF2B5EF4-FFF2-40B4-BE49-F238E27FC236}">
                    <a16:creationId xmlns:a16="http://schemas.microsoft.com/office/drawing/2014/main" id="{94498138-60D7-4F79-A8D0-C643AB5D3998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3" name="Left Brace 372">
                <a:extLst>
                  <a:ext uri="{FF2B5EF4-FFF2-40B4-BE49-F238E27FC236}">
                    <a16:creationId xmlns:a16="http://schemas.microsoft.com/office/drawing/2014/main" id="{E7B8FADB-160D-44AE-9529-5B1CE79C5B1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4" name="Left Brace 373">
                <a:extLst>
                  <a:ext uri="{FF2B5EF4-FFF2-40B4-BE49-F238E27FC236}">
                    <a16:creationId xmlns:a16="http://schemas.microsoft.com/office/drawing/2014/main" id="{4A47FB53-B617-4083-9F4A-41C810F21F19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5" name="Left Brace 374">
                <a:extLst>
                  <a:ext uri="{FF2B5EF4-FFF2-40B4-BE49-F238E27FC236}">
                    <a16:creationId xmlns:a16="http://schemas.microsoft.com/office/drawing/2014/main" id="{14A022C6-6596-4484-8E63-3D67F555C588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00D9467E-97D0-483D-A1FC-4664D1F5795C}"/>
                </a:ext>
              </a:extLst>
            </p:cNvPr>
            <p:cNvGrpSpPr/>
            <p:nvPr/>
          </p:nvGrpSpPr>
          <p:grpSpPr>
            <a:xfrm>
              <a:off x="2841939" y="2950957"/>
              <a:ext cx="4589772" cy="122248"/>
              <a:chOff x="2842109" y="5247265"/>
              <a:chExt cx="4589772" cy="122248"/>
            </a:xfrm>
          </p:grpSpPr>
          <p:sp>
            <p:nvSpPr>
              <p:cNvPr id="409" name="Oval 408">
                <a:extLst>
                  <a:ext uri="{FF2B5EF4-FFF2-40B4-BE49-F238E27FC236}">
                    <a16:creationId xmlns:a16="http://schemas.microsoft.com/office/drawing/2014/main" id="{59C8A9BC-811B-4B42-880D-7591CDDC2ED9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342A5CB0-470D-477D-8298-D23C73F003EF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2AB5DD2A-42C4-4854-95FF-B297E6458D81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2" name="Oval 411">
                <a:extLst>
                  <a:ext uri="{FF2B5EF4-FFF2-40B4-BE49-F238E27FC236}">
                    <a16:creationId xmlns:a16="http://schemas.microsoft.com/office/drawing/2014/main" id="{9A6600E9-E776-4EDA-A932-129048738C12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3" name="Oval 412">
                <a:extLst>
                  <a:ext uri="{FF2B5EF4-FFF2-40B4-BE49-F238E27FC236}">
                    <a16:creationId xmlns:a16="http://schemas.microsoft.com/office/drawing/2014/main" id="{442135AC-9999-49EC-8B98-66A001DD22D5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4" name="Oval 413">
                <a:extLst>
                  <a:ext uri="{FF2B5EF4-FFF2-40B4-BE49-F238E27FC236}">
                    <a16:creationId xmlns:a16="http://schemas.microsoft.com/office/drawing/2014/main" id="{9E357AE8-60DB-4D98-9151-C9502CD376A7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620239E9-C30C-46D6-A4E0-B66B7D143DDA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6E3AC40B-E5D6-467E-9A27-290C92C52D89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5B0F9CB3-26BC-4950-A07D-626E29CDD301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4B376DFB-7B08-4AE8-9D32-3147E3F2F676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12AA2608-A970-4FFA-ABF7-8BACF87AF1B6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16AD0F4-24E5-4EDC-B239-968E4A842360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21EF21A0-BDF1-4490-8B60-0CC2ACAF40E9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991BFE7B-31DE-4734-B6A7-02F816100D18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767D8649-D5AA-42AD-88CF-88CBF1E54590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9EF7AB5C-5C4C-43E2-97E7-F7DAC14FFB68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74F0ED5A-AED0-442A-9F48-BBC225C4BD43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7C91E5D0-971C-469E-A967-19E88D05910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CE93E97E-1C9F-441F-9FC6-95776234AAFC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415772D1-FE03-4B1E-9E8D-14CEAEFD621D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058AA601-E6FF-4ADA-A1B2-0DBED23F38FD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ADBBA5BB-060C-44D5-B3C8-1227A07F3376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AF259460-B9BE-443B-ABE6-44F7FA661A08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8BBDBDDD-FF2F-4342-AD3E-916DE805B120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B4E3131-6DEF-498E-B743-05B3DA03CDEC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D33CD329-3481-4600-8E02-498886689126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4D0C022E-0098-4FFB-B16E-1D828EDB9E77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931116FC-59A2-4E34-92D7-9F2405B08582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C6CC69E4-2819-4B37-B523-3FBE9CCBE4DA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DC46EC69-CCF7-456A-A483-46C32DB5408C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CC60D346-4146-43A4-A84C-D7F994C76113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78981FF-063B-4929-A171-9C3439B59212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136BA07D-AC1F-48FD-9CEA-F20EC0E4A7C8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86E1257E-CC5D-4A26-A205-4F938B3B1923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D21B7C74-179B-40B5-BF0A-89BE93377AFD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32CE23-4D43-4F6E-91CB-012DBEA4628E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6D2D8B98-926F-4CD4-908E-5C3984ED510E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B7903B51-BE1A-4EE7-8F81-0E16BDE0F18A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CD1EBA5C-BE66-4D94-AE6D-6DAC70592CD7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6764C2A3-6AA1-4794-A6A0-01DDFD7048B3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138F259-562B-4BC4-ADF2-08295258E48B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0CD39406-C9FF-4F08-9598-022DACEDA665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3F80B4D-1560-44C1-813B-84349F1B04CE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861DDA84-22DF-437E-9157-24E7393DD247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35FF494A-9A57-45A5-8102-9FC19C73AFB2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4D5624D1-4537-41A5-A0F4-8E771EF2AA96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5" name="Oval 454">
                <a:extLst>
                  <a:ext uri="{FF2B5EF4-FFF2-40B4-BE49-F238E27FC236}">
                    <a16:creationId xmlns:a16="http://schemas.microsoft.com/office/drawing/2014/main" id="{1B624AF7-1D51-429F-9FC0-D55786F32F1A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6" name="Oval 455">
                <a:extLst>
                  <a:ext uri="{FF2B5EF4-FFF2-40B4-BE49-F238E27FC236}">
                    <a16:creationId xmlns:a16="http://schemas.microsoft.com/office/drawing/2014/main" id="{17215F96-2703-4734-BE5B-31CA9C6D9A79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839A650F-EA71-4DE8-BB93-4A4692E393EC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AF7E3096-080C-47A2-9BF5-D9DCFDC7A8DE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2F183357-73CA-42AF-9251-C59556F193C8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FCEF056F-08E1-4C8F-B680-639B479883C5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EF6B3B2C-1ED6-4A6B-898A-0B426758668A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909DEF2D-2983-49F1-B6EA-7DDF662A6B3D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246FF05F-7FD0-4497-ADF2-32B467DBAED1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3E912417-416A-4B39-8A4F-C7D57E52F26C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1D82908D-EAA1-4E69-B6BA-6F6F472E6501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8E41B71-2010-42A7-A0AE-77A82F42A89A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8043D58E-FB21-4801-957C-D54134ABB472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1E69B60C-236F-4527-9905-51239898EBEA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D7E44793-7B73-41A4-B76F-5EB2A89B7E45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78E4EE48-D75E-4862-8F41-BACBBCCAB308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AA0D9FEA-86A7-4E4C-A894-9966B21A57C2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539178B2-643F-4D2E-BF98-AE0FE0983591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41A2547B-994B-4E89-B89A-03D65CCC3331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35BEE2D7-60D9-4D55-82BE-E501EEAA9AA7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5029BC2C-77E9-43B1-9370-89F6DE0E98C2}"/>
                  </a:ext>
                </a:extLst>
              </p:cNvPr>
              <p:cNvSpPr/>
              <p:nvPr/>
            </p:nvSpPr>
            <p:spPr>
              <a:xfrm>
                <a:off x="2864645" y="5275299"/>
                <a:ext cx="4567236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567236" h="70610">
                    <a:moveTo>
                      <a:pt x="4567236" y="27745"/>
                    </a:moveTo>
                    <a:cubicBezTo>
                      <a:pt x="4540248" y="42231"/>
                      <a:pt x="4513261" y="56717"/>
                      <a:pt x="4476749" y="63464"/>
                    </a:cubicBezTo>
                    <a:cubicBezTo>
                      <a:pt x="4440237" y="70211"/>
                      <a:pt x="4393008" y="72988"/>
                      <a:pt x="4348161" y="68226"/>
                    </a:cubicBezTo>
                    <a:cubicBezTo>
                      <a:pt x="4303314" y="63464"/>
                      <a:pt x="4241799" y="43620"/>
                      <a:pt x="4207668" y="34889"/>
                    </a:cubicBezTo>
                    <a:cubicBezTo>
                      <a:pt x="4173537" y="26158"/>
                      <a:pt x="4191396" y="11474"/>
                      <a:pt x="4143374" y="15839"/>
                    </a:cubicBezTo>
                    <a:cubicBezTo>
                      <a:pt x="4095352" y="20204"/>
                      <a:pt x="3991767" y="55526"/>
                      <a:pt x="3919536" y="61082"/>
                    </a:cubicBezTo>
                    <a:cubicBezTo>
                      <a:pt x="3847305" y="66638"/>
                      <a:pt x="3755627" y="56320"/>
                      <a:pt x="3709986" y="49176"/>
                    </a:cubicBezTo>
                    <a:cubicBezTo>
                      <a:pt x="3664345" y="42032"/>
                      <a:pt x="3679824" y="21792"/>
                      <a:pt x="3645693" y="18220"/>
                    </a:cubicBezTo>
                    <a:cubicBezTo>
                      <a:pt x="3611562" y="14648"/>
                      <a:pt x="3562349" y="19014"/>
                      <a:pt x="3505199" y="27745"/>
                    </a:cubicBezTo>
                    <a:cubicBezTo>
                      <a:pt x="3448049" y="36476"/>
                      <a:pt x="3358752" y="71004"/>
                      <a:pt x="3302793" y="70607"/>
                    </a:cubicBezTo>
                    <a:cubicBezTo>
                      <a:pt x="3246834" y="70210"/>
                      <a:pt x="3213496" y="31317"/>
                      <a:pt x="3169443" y="25364"/>
                    </a:cubicBezTo>
                    <a:cubicBezTo>
                      <a:pt x="3125390" y="19411"/>
                      <a:pt x="3095624" y="28539"/>
                      <a:pt x="3038474" y="34889"/>
                    </a:cubicBezTo>
                    <a:cubicBezTo>
                      <a:pt x="2981324" y="41239"/>
                      <a:pt x="2886471" y="61480"/>
                      <a:pt x="2826543" y="63464"/>
                    </a:cubicBezTo>
                    <a:cubicBezTo>
                      <a:pt x="2766615" y="65448"/>
                      <a:pt x="2713829" y="57114"/>
                      <a:pt x="2678905" y="46794"/>
                    </a:cubicBezTo>
                    <a:cubicBezTo>
                      <a:pt x="2643981" y="36474"/>
                      <a:pt x="2612627" y="21791"/>
                      <a:pt x="2545555" y="15838"/>
                    </a:cubicBezTo>
                    <a:cubicBezTo>
                      <a:pt x="2478483" y="9885"/>
                      <a:pt x="2357833" y="62273"/>
                      <a:pt x="2271711" y="68226"/>
                    </a:cubicBezTo>
                    <a:lnTo>
                      <a:pt x="2083592" y="25363"/>
                    </a:lnTo>
                    <a:cubicBezTo>
                      <a:pt x="2005408" y="18219"/>
                      <a:pt x="1940320" y="40047"/>
                      <a:pt x="1797842" y="44413"/>
                    </a:cubicBezTo>
                    <a:cubicBezTo>
                      <a:pt x="1726405" y="30125"/>
                      <a:pt x="1702593" y="49174"/>
                      <a:pt x="1583531" y="1549"/>
                    </a:cubicBezTo>
                    <a:cubicBezTo>
                      <a:pt x="1494234" y="-5991"/>
                      <a:pt x="1430733" y="14648"/>
                      <a:pt x="1264442" y="49176"/>
                    </a:cubicBezTo>
                    <a:cubicBezTo>
                      <a:pt x="1168001" y="54733"/>
                      <a:pt x="1184670" y="27349"/>
                      <a:pt x="1090611" y="11077"/>
                    </a:cubicBezTo>
                    <a:cubicBezTo>
                      <a:pt x="1026714" y="6315"/>
                      <a:pt x="884235" y="51955"/>
                      <a:pt x="826292" y="56320"/>
                    </a:cubicBezTo>
                    <a:cubicBezTo>
                      <a:pt x="737789" y="63067"/>
                      <a:pt x="666352" y="61876"/>
                      <a:pt x="550068" y="8695"/>
                    </a:cubicBezTo>
                    <a:cubicBezTo>
                      <a:pt x="463549" y="2345"/>
                      <a:pt x="375046" y="30126"/>
                      <a:pt x="304799" y="39651"/>
                    </a:cubicBezTo>
                    <a:cubicBezTo>
                      <a:pt x="240108" y="42429"/>
                      <a:pt x="241299" y="63861"/>
                      <a:pt x="190499" y="61083"/>
                    </a:cubicBezTo>
                    <a:cubicBezTo>
                      <a:pt x="139699" y="58305"/>
                      <a:pt x="26987" y="23380"/>
                      <a:pt x="0" y="22983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6" name="Oval 475">
                <a:extLst>
                  <a:ext uri="{FF2B5EF4-FFF2-40B4-BE49-F238E27FC236}">
                    <a16:creationId xmlns:a16="http://schemas.microsoft.com/office/drawing/2014/main" id="{53CC29DA-473E-4CEE-9251-37D37BFE1ECE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4F4333F-CB00-47DD-84DE-4FD13CC86F81}"/>
              </a:ext>
            </a:extLst>
          </p:cNvPr>
          <p:cNvSpPr/>
          <p:nvPr/>
        </p:nvSpPr>
        <p:spPr>
          <a:xfrm>
            <a:off x="-73891" y="1597891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8289A15-D0E9-416D-9BCA-9A7B2710D0AD}"/>
              </a:ext>
            </a:extLst>
          </p:cNvPr>
          <p:cNvSpPr/>
          <p:nvPr/>
        </p:nvSpPr>
        <p:spPr>
          <a:xfrm>
            <a:off x="-54649" y="4123509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37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4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4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Content Placeholder 5">
            <a:extLst>
              <a:ext uri="{FF2B5EF4-FFF2-40B4-BE49-F238E27FC236}">
                <a16:creationId xmlns:a16="http://schemas.microsoft.com/office/drawing/2014/main" id="{D9B5E006-DF58-4CA6-908C-93D7CDDCC0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41096" y="4240506"/>
            <a:ext cx="900261" cy="253577"/>
          </a:xfrm>
          <a:prstGeom prst="rect">
            <a:avLst/>
          </a:prstGeom>
        </p:spPr>
      </p:pic>
      <p:pic>
        <p:nvPicPr>
          <p:cNvPr id="69" name="Content Placeholder 5">
            <a:extLst>
              <a:ext uri="{FF2B5EF4-FFF2-40B4-BE49-F238E27FC236}">
                <a16:creationId xmlns:a16="http://schemas.microsoft.com/office/drawing/2014/main" id="{DB61DA8F-0578-4B92-B3CF-1D2CA45DE0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5839" y="1966211"/>
            <a:ext cx="1006139" cy="264036"/>
          </a:xfrm>
          <a:prstGeom prst="rect">
            <a:avLst/>
          </a:prstGeom>
        </p:spPr>
      </p:pic>
      <p:pic>
        <p:nvPicPr>
          <p:cNvPr id="65" name="Content Placeholder 5">
            <a:extLst>
              <a:ext uri="{FF2B5EF4-FFF2-40B4-BE49-F238E27FC236}">
                <a16:creationId xmlns:a16="http://schemas.microsoft.com/office/drawing/2014/main" id="{31776A14-69CE-4BF0-90D4-733577C70C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4292766"/>
            <a:ext cx="10972800" cy="206887"/>
          </a:xfrm>
          <a:prstGeom prst="rect">
            <a:avLst/>
          </a:prstGeom>
        </p:spPr>
      </p:pic>
      <p:pic>
        <p:nvPicPr>
          <p:cNvPr id="68" name="Content Placeholder 5">
            <a:extLst>
              <a:ext uri="{FF2B5EF4-FFF2-40B4-BE49-F238E27FC236}">
                <a16:creationId xmlns:a16="http://schemas.microsoft.com/office/drawing/2014/main" id="{80C44F4C-F2E3-4EAE-9F6D-1BE8519D043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223" y="1974313"/>
            <a:ext cx="10972800" cy="2602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FA37B6-F03D-400A-A8C8-07A5DA935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 alleles. 3 SNP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632962-C400-4B7B-96C3-D92BF4CA1CF6}"/>
              </a:ext>
            </a:extLst>
          </p:cNvPr>
          <p:cNvSpPr txBox="1"/>
          <p:nvPr/>
        </p:nvSpPr>
        <p:spPr>
          <a:xfrm>
            <a:off x="79751" y="5615588"/>
            <a:ext cx="1470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Non-tast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5EFC87-4A93-41D2-85BE-EF968F28CD8C}"/>
              </a:ext>
            </a:extLst>
          </p:cNvPr>
          <p:cNvSpPr txBox="1"/>
          <p:nvPr/>
        </p:nvSpPr>
        <p:spPr>
          <a:xfrm>
            <a:off x="79272" y="3295506"/>
            <a:ext cx="98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T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845E89-CACE-40B0-852B-7D4B06905BCA}"/>
              </a:ext>
            </a:extLst>
          </p:cNvPr>
          <p:cNvSpPr/>
          <p:nvPr/>
        </p:nvSpPr>
        <p:spPr>
          <a:xfrm>
            <a:off x="1194390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CDE0B63-18D7-44E8-82D5-B14205F08B66}"/>
              </a:ext>
            </a:extLst>
          </p:cNvPr>
          <p:cNvSpPr/>
          <p:nvPr/>
        </p:nvSpPr>
        <p:spPr>
          <a:xfrm>
            <a:off x="1194390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ca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actgag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gt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tgactc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9B1922A-207B-41AE-808F-76CA5F7E9A96}"/>
              </a:ext>
            </a:extLst>
          </p:cNvPr>
          <p:cNvSpPr/>
          <p:nvPr/>
        </p:nvSpPr>
        <p:spPr>
          <a:xfrm>
            <a:off x="7249072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FB95884-D427-4A81-81BC-900687FE98FF}"/>
              </a:ext>
            </a:extLst>
          </p:cNvPr>
          <p:cNvSpPr/>
          <p:nvPr/>
        </p:nvSpPr>
        <p:spPr>
          <a:xfrm>
            <a:off x="9518107" y="1829119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0CB780-78AA-4FA3-B8A6-515BD0AE02AB}"/>
              </a:ext>
            </a:extLst>
          </p:cNvPr>
          <p:cNvSpPr/>
          <p:nvPr/>
        </p:nvSpPr>
        <p:spPr>
          <a:xfrm>
            <a:off x="7250802" y="4128523"/>
            <a:ext cx="179222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tg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gcct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ac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cggaag</a:t>
            </a:r>
            <a:r>
              <a:rPr lang="en-US" sz="14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B7D2CD8-3900-4757-9AB3-E652FB98CB54}"/>
              </a:ext>
            </a:extLst>
          </p:cNvPr>
          <p:cNvSpPr/>
          <p:nvPr/>
        </p:nvSpPr>
        <p:spPr>
          <a:xfrm>
            <a:off x="9518107" y="4128523"/>
            <a:ext cx="179568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gcagcc</a:t>
            </a:r>
            <a:r>
              <a:rPr lang="en-US" sz="1400" b="1" dirty="0" err="1">
                <a:solidFill>
                  <a:schemeClr val="accent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tcctgatc</a:t>
            </a:r>
            <a:endParaRPr lang="en-US" sz="14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gtcgg</a:t>
            </a:r>
            <a:r>
              <a:rPr lang="en-US" sz="1400" b="1" dirty="0" err="1">
                <a:solidFill>
                  <a:srgbClr val="C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</a:t>
            </a:r>
            <a:r>
              <a:rPr lang="en-US" sz="1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ggactag</a:t>
            </a:r>
            <a:endParaRPr lang="en-US" sz="14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F47BCF8-ABE6-45B8-BA5B-91B7ED2CB691}"/>
              </a:ext>
            </a:extLst>
          </p:cNvPr>
          <p:cNvGrpSpPr/>
          <p:nvPr/>
        </p:nvGrpSpPr>
        <p:grpSpPr>
          <a:xfrm>
            <a:off x="276224" y="2500661"/>
            <a:ext cx="11465134" cy="307777"/>
            <a:chOff x="276224" y="2500661"/>
            <a:chExt cx="11465134" cy="30777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F3422011-3732-4D8E-BB1D-04931B89B44A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0687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B30AEBF-4433-4416-B7B1-EE1C91D6DB2D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34A88C2-E06D-4E5F-AFBE-37F73ACC52E7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EB2F74F-B3A6-4AA8-A5BF-1E1CE820D164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6AD39A2-950F-4E61-AE12-277DB004904C}"/>
              </a:ext>
            </a:extLst>
          </p:cNvPr>
          <p:cNvGrpSpPr/>
          <p:nvPr/>
        </p:nvGrpSpPr>
        <p:grpSpPr>
          <a:xfrm>
            <a:off x="280914" y="4800501"/>
            <a:ext cx="11465134" cy="307777"/>
            <a:chOff x="276224" y="2500661"/>
            <a:chExt cx="11465134" cy="307777"/>
          </a:xfrm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A234038-6931-431D-8647-C3B4DEF3B9BB}"/>
                </a:ext>
              </a:extLst>
            </p:cNvPr>
            <p:cNvSpPr/>
            <p:nvPr/>
          </p:nvSpPr>
          <p:spPr>
            <a:xfrm flipV="1">
              <a:off x="276224" y="2549760"/>
              <a:ext cx="11465134" cy="165864"/>
            </a:xfrm>
            <a:custGeom>
              <a:avLst/>
              <a:gdLst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457325 w 3381375"/>
                <a:gd name="connsiteY7" fmla="*/ 110071 h 120211"/>
                <a:gd name="connsiteX8" fmla="*/ 1847850 w 3381375"/>
                <a:gd name="connsiteY8" fmla="*/ 52921 h 120211"/>
                <a:gd name="connsiteX9" fmla="*/ 2076450 w 3381375"/>
                <a:gd name="connsiteY9" fmla="*/ 100546 h 120211"/>
                <a:gd name="connsiteX10" fmla="*/ 2324100 w 3381375"/>
                <a:gd name="connsiteY10" fmla="*/ 52921 h 120211"/>
                <a:gd name="connsiteX11" fmla="*/ 2514600 w 3381375"/>
                <a:gd name="connsiteY11" fmla="*/ 119596 h 120211"/>
                <a:gd name="connsiteX12" fmla="*/ 2695575 w 3381375"/>
                <a:gd name="connsiteY12" fmla="*/ 5296 h 120211"/>
                <a:gd name="connsiteX13" fmla="*/ 3038475 w 3381375"/>
                <a:gd name="connsiteY13" fmla="*/ 24346 h 120211"/>
                <a:gd name="connsiteX14" fmla="*/ 3381375 w 3381375"/>
                <a:gd name="connsiteY14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289413 w 3381375"/>
                <a:gd name="connsiteY7" fmla="*/ 7654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57325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847850 w 3381375"/>
                <a:gd name="connsiteY9" fmla="*/ 52921 h 120211"/>
                <a:gd name="connsiteX10" fmla="*/ 2076450 w 3381375"/>
                <a:gd name="connsiteY10" fmla="*/ 100546 h 120211"/>
                <a:gd name="connsiteX11" fmla="*/ 2324100 w 3381375"/>
                <a:gd name="connsiteY11" fmla="*/ 52921 h 120211"/>
                <a:gd name="connsiteX12" fmla="*/ 2514600 w 3381375"/>
                <a:gd name="connsiteY12" fmla="*/ 119596 h 120211"/>
                <a:gd name="connsiteX13" fmla="*/ 2695575 w 3381375"/>
                <a:gd name="connsiteY13" fmla="*/ 5296 h 120211"/>
                <a:gd name="connsiteX14" fmla="*/ 3038475 w 3381375"/>
                <a:gd name="connsiteY14" fmla="*/ 24346 h 120211"/>
                <a:gd name="connsiteX15" fmla="*/ 3381375 w 3381375"/>
                <a:gd name="connsiteY15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24835 w 3381375"/>
                <a:gd name="connsiteY9" fmla="*/ 6967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847850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309077 w 3381375"/>
                <a:gd name="connsiteY7" fmla="*/ 49065 h 120211"/>
                <a:gd name="connsiteX8" fmla="*/ 1476989 w 3381375"/>
                <a:gd name="connsiteY8" fmla="*/ 110071 h 120211"/>
                <a:gd name="connsiteX9" fmla="*/ 1747308 w 3381375"/>
                <a:gd name="connsiteY9" fmla="*/ 90285 h 120211"/>
                <a:gd name="connsiteX10" fmla="*/ 1904034 w 3381375"/>
                <a:gd name="connsiteY10" fmla="*/ 52921 h 120211"/>
                <a:gd name="connsiteX11" fmla="*/ 2076450 w 3381375"/>
                <a:gd name="connsiteY11" fmla="*/ 100546 h 120211"/>
                <a:gd name="connsiteX12" fmla="*/ 2324100 w 3381375"/>
                <a:gd name="connsiteY12" fmla="*/ 52921 h 120211"/>
                <a:gd name="connsiteX13" fmla="*/ 2514600 w 3381375"/>
                <a:gd name="connsiteY13" fmla="*/ 119596 h 120211"/>
                <a:gd name="connsiteX14" fmla="*/ 2695575 w 3381375"/>
                <a:gd name="connsiteY14" fmla="*/ 5296 h 120211"/>
                <a:gd name="connsiteX15" fmla="*/ 3038475 w 3381375"/>
                <a:gd name="connsiteY15" fmla="*/ 24346 h 120211"/>
                <a:gd name="connsiteX16" fmla="*/ 3381375 w 3381375"/>
                <a:gd name="connsiteY16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85473 w 3381375"/>
                <a:gd name="connsiteY7" fmla="*/ 4219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1009650 w 3381375"/>
                <a:gd name="connsiteY6" fmla="*/ 3387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66775 w 3381375"/>
                <a:gd name="connsiteY5" fmla="*/ 7197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8650 w 3381375"/>
                <a:gd name="connsiteY4" fmla="*/ 11959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43396 h 120211"/>
                <a:gd name="connsiteX1" fmla="*/ 76200 w 3381375"/>
                <a:gd name="connsiteY1" fmla="*/ 14821 h 120211"/>
                <a:gd name="connsiteX2" fmla="*/ 257175 w 3381375"/>
                <a:gd name="connsiteY2" fmla="*/ 71971 h 120211"/>
                <a:gd name="connsiteX3" fmla="*/ 438150 w 3381375"/>
                <a:gd name="connsiteY3" fmla="*/ 52921 h 120211"/>
                <a:gd name="connsiteX4" fmla="*/ 625841 w 3381375"/>
                <a:gd name="connsiteY4" fmla="*/ 78376 h 120211"/>
                <a:gd name="connsiteX5" fmla="*/ 838683 w 3381375"/>
                <a:gd name="connsiteY5" fmla="*/ 51361 h 120211"/>
                <a:gd name="connsiteX6" fmla="*/ 998413 w 3381375"/>
                <a:gd name="connsiteY6" fmla="*/ 40741 h 120211"/>
                <a:gd name="connsiteX7" fmla="*/ 1168618 w 3381375"/>
                <a:gd name="connsiteY7" fmla="*/ 76545 h 120211"/>
                <a:gd name="connsiteX8" fmla="*/ 1309077 w 3381375"/>
                <a:gd name="connsiteY8" fmla="*/ 49065 h 120211"/>
                <a:gd name="connsiteX9" fmla="*/ 1476989 w 3381375"/>
                <a:gd name="connsiteY9" fmla="*/ 110071 h 120211"/>
                <a:gd name="connsiteX10" fmla="*/ 1747308 w 3381375"/>
                <a:gd name="connsiteY10" fmla="*/ 90285 h 120211"/>
                <a:gd name="connsiteX11" fmla="*/ 1904034 w 3381375"/>
                <a:gd name="connsiteY11" fmla="*/ 52921 h 120211"/>
                <a:gd name="connsiteX12" fmla="*/ 2076450 w 3381375"/>
                <a:gd name="connsiteY12" fmla="*/ 100546 h 120211"/>
                <a:gd name="connsiteX13" fmla="*/ 2324100 w 3381375"/>
                <a:gd name="connsiteY13" fmla="*/ 52921 h 120211"/>
                <a:gd name="connsiteX14" fmla="*/ 2514600 w 3381375"/>
                <a:gd name="connsiteY14" fmla="*/ 119596 h 120211"/>
                <a:gd name="connsiteX15" fmla="*/ 2695575 w 3381375"/>
                <a:gd name="connsiteY15" fmla="*/ 5296 h 120211"/>
                <a:gd name="connsiteX16" fmla="*/ 3038475 w 3381375"/>
                <a:gd name="connsiteY16" fmla="*/ 24346 h 120211"/>
                <a:gd name="connsiteX17" fmla="*/ 3381375 w 3381375"/>
                <a:gd name="connsiteY17" fmla="*/ 71971 h 120211"/>
                <a:gd name="connsiteX0" fmla="*/ 0 w 3381375"/>
                <a:gd name="connsiteY0" fmla="*/ 29402 h 106125"/>
                <a:gd name="connsiteX1" fmla="*/ 76200 w 3381375"/>
                <a:gd name="connsiteY1" fmla="*/ 827 h 106125"/>
                <a:gd name="connsiteX2" fmla="*/ 257175 w 3381375"/>
                <a:gd name="connsiteY2" fmla="*/ 57977 h 106125"/>
                <a:gd name="connsiteX3" fmla="*/ 438150 w 3381375"/>
                <a:gd name="connsiteY3" fmla="*/ 38927 h 106125"/>
                <a:gd name="connsiteX4" fmla="*/ 625841 w 3381375"/>
                <a:gd name="connsiteY4" fmla="*/ 64382 h 106125"/>
                <a:gd name="connsiteX5" fmla="*/ 838683 w 3381375"/>
                <a:gd name="connsiteY5" fmla="*/ 37367 h 106125"/>
                <a:gd name="connsiteX6" fmla="*/ 998413 w 3381375"/>
                <a:gd name="connsiteY6" fmla="*/ 26747 h 106125"/>
                <a:gd name="connsiteX7" fmla="*/ 1168618 w 3381375"/>
                <a:gd name="connsiteY7" fmla="*/ 62551 h 106125"/>
                <a:gd name="connsiteX8" fmla="*/ 1309077 w 3381375"/>
                <a:gd name="connsiteY8" fmla="*/ 35071 h 106125"/>
                <a:gd name="connsiteX9" fmla="*/ 1476989 w 3381375"/>
                <a:gd name="connsiteY9" fmla="*/ 96077 h 106125"/>
                <a:gd name="connsiteX10" fmla="*/ 1747308 w 3381375"/>
                <a:gd name="connsiteY10" fmla="*/ 76291 h 106125"/>
                <a:gd name="connsiteX11" fmla="*/ 1904034 w 3381375"/>
                <a:gd name="connsiteY11" fmla="*/ 38927 h 106125"/>
                <a:gd name="connsiteX12" fmla="*/ 2076450 w 3381375"/>
                <a:gd name="connsiteY12" fmla="*/ 86552 h 106125"/>
                <a:gd name="connsiteX13" fmla="*/ 2324100 w 3381375"/>
                <a:gd name="connsiteY13" fmla="*/ 38927 h 106125"/>
                <a:gd name="connsiteX14" fmla="*/ 2514600 w 3381375"/>
                <a:gd name="connsiteY14" fmla="*/ 105602 h 106125"/>
                <a:gd name="connsiteX15" fmla="*/ 2704003 w 3381375"/>
                <a:gd name="connsiteY15" fmla="*/ 66872 h 106125"/>
                <a:gd name="connsiteX16" fmla="*/ 3038475 w 3381375"/>
                <a:gd name="connsiteY16" fmla="*/ 10352 h 106125"/>
                <a:gd name="connsiteX17" fmla="*/ 3381375 w 3381375"/>
                <a:gd name="connsiteY17" fmla="*/ 57977 h 106125"/>
                <a:gd name="connsiteX0" fmla="*/ 0 w 3381375"/>
                <a:gd name="connsiteY0" fmla="*/ 29402 h 106033"/>
                <a:gd name="connsiteX1" fmla="*/ 76200 w 3381375"/>
                <a:gd name="connsiteY1" fmla="*/ 827 h 106033"/>
                <a:gd name="connsiteX2" fmla="*/ 257175 w 3381375"/>
                <a:gd name="connsiteY2" fmla="*/ 57977 h 106033"/>
                <a:gd name="connsiteX3" fmla="*/ 438150 w 3381375"/>
                <a:gd name="connsiteY3" fmla="*/ 38927 h 106033"/>
                <a:gd name="connsiteX4" fmla="*/ 625841 w 3381375"/>
                <a:gd name="connsiteY4" fmla="*/ 64382 h 106033"/>
                <a:gd name="connsiteX5" fmla="*/ 838683 w 3381375"/>
                <a:gd name="connsiteY5" fmla="*/ 37367 h 106033"/>
                <a:gd name="connsiteX6" fmla="*/ 998413 w 3381375"/>
                <a:gd name="connsiteY6" fmla="*/ 26747 h 106033"/>
                <a:gd name="connsiteX7" fmla="*/ 1168618 w 3381375"/>
                <a:gd name="connsiteY7" fmla="*/ 62551 h 106033"/>
                <a:gd name="connsiteX8" fmla="*/ 1309077 w 3381375"/>
                <a:gd name="connsiteY8" fmla="*/ 35071 h 106033"/>
                <a:gd name="connsiteX9" fmla="*/ 1476989 w 3381375"/>
                <a:gd name="connsiteY9" fmla="*/ 96077 h 106033"/>
                <a:gd name="connsiteX10" fmla="*/ 1747308 w 3381375"/>
                <a:gd name="connsiteY10" fmla="*/ 76291 h 106033"/>
                <a:gd name="connsiteX11" fmla="*/ 1904034 w 3381375"/>
                <a:gd name="connsiteY11" fmla="*/ 38927 h 106033"/>
                <a:gd name="connsiteX12" fmla="*/ 2076450 w 3381375"/>
                <a:gd name="connsiteY12" fmla="*/ 86552 h 106033"/>
                <a:gd name="connsiteX13" fmla="*/ 2324100 w 3381375"/>
                <a:gd name="connsiteY13" fmla="*/ 38927 h 106033"/>
                <a:gd name="connsiteX14" fmla="*/ 2514600 w 3381375"/>
                <a:gd name="connsiteY14" fmla="*/ 105602 h 106033"/>
                <a:gd name="connsiteX15" fmla="*/ 2704003 w 3381375"/>
                <a:gd name="connsiteY15" fmla="*/ 66872 h 106033"/>
                <a:gd name="connsiteX16" fmla="*/ 3035666 w 3381375"/>
                <a:gd name="connsiteY16" fmla="*/ 51572 h 106033"/>
                <a:gd name="connsiteX17" fmla="*/ 3381375 w 3381375"/>
                <a:gd name="connsiteY17" fmla="*/ 57977 h 106033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81375 w 3381375"/>
                <a:gd name="connsiteY17" fmla="*/ 106068 h 106068"/>
                <a:gd name="connsiteX0" fmla="*/ 0 w 3381375"/>
                <a:gd name="connsiteY0" fmla="*/ 29402 h 106068"/>
                <a:gd name="connsiteX1" fmla="*/ 76200 w 3381375"/>
                <a:gd name="connsiteY1" fmla="*/ 827 h 106068"/>
                <a:gd name="connsiteX2" fmla="*/ 257175 w 3381375"/>
                <a:gd name="connsiteY2" fmla="*/ 57977 h 106068"/>
                <a:gd name="connsiteX3" fmla="*/ 438150 w 3381375"/>
                <a:gd name="connsiteY3" fmla="*/ 38927 h 106068"/>
                <a:gd name="connsiteX4" fmla="*/ 625841 w 3381375"/>
                <a:gd name="connsiteY4" fmla="*/ 64382 h 106068"/>
                <a:gd name="connsiteX5" fmla="*/ 838683 w 3381375"/>
                <a:gd name="connsiteY5" fmla="*/ 37367 h 106068"/>
                <a:gd name="connsiteX6" fmla="*/ 998413 w 3381375"/>
                <a:gd name="connsiteY6" fmla="*/ 26747 h 106068"/>
                <a:gd name="connsiteX7" fmla="*/ 1168618 w 3381375"/>
                <a:gd name="connsiteY7" fmla="*/ 62551 h 106068"/>
                <a:gd name="connsiteX8" fmla="*/ 1309077 w 3381375"/>
                <a:gd name="connsiteY8" fmla="*/ 35071 h 106068"/>
                <a:gd name="connsiteX9" fmla="*/ 1476989 w 3381375"/>
                <a:gd name="connsiteY9" fmla="*/ 96077 h 106068"/>
                <a:gd name="connsiteX10" fmla="*/ 1747308 w 3381375"/>
                <a:gd name="connsiteY10" fmla="*/ 76291 h 106068"/>
                <a:gd name="connsiteX11" fmla="*/ 1904034 w 3381375"/>
                <a:gd name="connsiteY11" fmla="*/ 38927 h 106068"/>
                <a:gd name="connsiteX12" fmla="*/ 2076450 w 3381375"/>
                <a:gd name="connsiteY12" fmla="*/ 86552 h 106068"/>
                <a:gd name="connsiteX13" fmla="*/ 2324100 w 3381375"/>
                <a:gd name="connsiteY13" fmla="*/ 38927 h 106068"/>
                <a:gd name="connsiteX14" fmla="*/ 2514600 w 3381375"/>
                <a:gd name="connsiteY14" fmla="*/ 105602 h 106068"/>
                <a:gd name="connsiteX15" fmla="*/ 2704003 w 3381375"/>
                <a:gd name="connsiteY15" fmla="*/ 66872 h 106068"/>
                <a:gd name="connsiteX16" fmla="*/ 3035666 w 3381375"/>
                <a:gd name="connsiteY16" fmla="*/ 51572 h 106068"/>
                <a:gd name="connsiteX17" fmla="*/ 3300784 w 3381375"/>
                <a:gd name="connsiteY17" fmla="*/ 90031 h 106068"/>
                <a:gd name="connsiteX18" fmla="*/ 3381375 w 3381375"/>
                <a:gd name="connsiteY18" fmla="*/ 106068 h 106068"/>
                <a:gd name="connsiteX0" fmla="*/ 0 w 3381375"/>
                <a:gd name="connsiteY0" fmla="*/ 29402 h 119631"/>
                <a:gd name="connsiteX1" fmla="*/ 76200 w 3381375"/>
                <a:gd name="connsiteY1" fmla="*/ 827 h 119631"/>
                <a:gd name="connsiteX2" fmla="*/ 257175 w 3381375"/>
                <a:gd name="connsiteY2" fmla="*/ 57977 h 119631"/>
                <a:gd name="connsiteX3" fmla="*/ 438150 w 3381375"/>
                <a:gd name="connsiteY3" fmla="*/ 38927 h 119631"/>
                <a:gd name="connsiteX4" fmla="*/ 625841 w 3381375"/>
                <a:gd name="connsiteY4" fmla="*/ 64382 h 119631"/>
                <a:gd name="connsiteX5" fmla="*/ 838683 w 3381375"/>
                <a:gd name="connsiteY5" fmla="*/ 37367 h 119631"/>
                <a:gd name="connsiteX6" fmla="*/ 998413 w 3381375"/>
                <a:gd name="connsiteY6" fmla="*/ 26747 h 119631"/>
                <a:gd name="connsiteX7" fmla="*/ 1168618 w 3381375"/>
                <a:gd name="connsiteY7" fmla="*/ 62551 h 119631"/>
                <a:gd name="connsiteX8" fmla="*/ 1309077 w 3381375"/>
                <a:gd name="connsiteY8" fmla="*/ 35071 h 119631"/>
                <a:gd name="connsiteX9" fmla="*/ 1476989 w 3381375"/>
                <a:gd name="connsiteY9" fmla="*/ 96077 h 119631"/>
                <a:gd name="connsiteX10" fmla="*/ 1747308 w 3381375"/>
                <a:gd name="connsiteY10" fmla="*/ 76291 h 119631"/>
                <a:gd name="connsiteX11" fmla="*/ 1904034 w 3381375"/>
                <a:gd name="connsiteY11" fmla="*/ 38927 h 119631"/>
                <a:gd name="connsiteX12" fmla="*/ 2076450 w 3381375"/>
                <a:gd name="connsiteY12" fmla="*/ 86552 h 119631"/>
                <a:gd name="connsiteX13" fmla="*/ 2324100 w 3381375"/>
                <a:gd name="connsiteY13" fmla="*/ 38927 h 119631"/>
                <a:gd name="connsiteX14" fmla="*/ 2514600 w 3381375"/>
                <a:gd name="connsiteY14" fmla="*/ 105602 h 119631"/>
                <a:gd name="connsiteX15" fmla="*/ 2704003 w 3381375"/>
                <a:gd name="connsiteY15" fmla="*/ 66872 h 119631"/>
                <a:gd name="connsiteX16" fmla="*/ 3035666 w 3381375"/>
                <a:gd name="connsiteY16" fmla="*/ 51572 h 119631"/>
                <a:gd name="connsiteX17" fmla="*/ 3295166 w 3381375"/>
                <a:gd name="connsiteY17" fmla="*/ 117511 h 119631"/>
                <a:gd name="connsiteX18" fmla="*/ 3381375 w 3381375"/>
                <a:gd name="connsiteY18" fmla="*/ 106068 h 119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381375" h="119631">
                  <a:moveTo>
                    <a:pt x="0" y="29402"/>
                  </a:moveTo>
                  <a:cubicBezTo>
                    <a:pt x="16669" y="12733"/>
                    <a:pt x="33338" y="-3936"/>
                    <a:pt x="76200" y="827"/>
                  </a:cubicBezTo>
                  <a:cubicBezTo>
                    <a:pt x="119063" y="5589"/>
                    <a:pt x="196850" y="51627"/>
                    <a:pt x="257175" y="57977"/>
                  </a:cubicBezTo>
                  <a:cubicBezTo>
                    <a:pt x="317500" y="64327"/>
                    <a:pt x="376706" y="37860"/>
                    <a:pt x="438150" y="38927"/>
                  </a:cubicBezTo>
                  <a:cubicBezTo>
                    <a:pt x="499594" y="39994"/>
                    <a:pt x="559086" y="64642"/>
                    <a:pt x="625841" y="64382"/>
                  </a:cubicBezTo>
                  <a:cubicBezTo>
                    <a:pt x="692596" y="64122"/>
                    <a:pt x="776588" y="43639"/>
                    <a:pt x="838683" y="37367"/>
                  </a:cubicBezTo>
                  <a:cubicBezTo>
                    <a:pt x="900778" y="31095"/>
                    <a:pt x="943424" y="22550"/>
                    <a:pt x="998413" y="26747"/>
                  </a:cubicBezTo>
                  <a:cubicBezTo>
                    <a:pt x="1053402" y="30944"/>
                    <a:pt x="1118714" y="60019"/>
                    <a:pt x="1168618" y="62551"/>
                  </a:cubicBezTo>
                  <a:lnTo>
                    <a:pt x="1309077" y="35071"/>
                  </a:lnTo>
                  <a:cubicBezTo>
                    <a:pt x="1357663" y="46384"/>
                    <a:pt x="1403951" y="89207"/>
                    <a:pt x="1476989" y="96077"/>
                  </a:cubicBezTo>
                  <a:cubicBezTo>
                    <a:pt x="1550028" y="102947"/>
                    <a:pt x="1685498" y="85816"/>
                    <a:pt x="1747308" y="76291"/>
                  </a:cubicBezTo>
                  <a:cubicBezTo>
                    <a:pt x="1809118" y="66766"/>
                    <a:pt x="1849177" y="37217"/>
                    <a:pt x="1904034" y="38927"/>
                  </a:cubicBezTo>
                  <a:cubicBezTo>
                    <a:pt x="1958891" y="40637"/>
                    <a:pt x="2006439" y="86552"/>
                    <a:pt x="2076450" y="86552"/>
                  </a:cubicBezTo>
                  <a:cubicBezTo>
                    <a:pt x="2146461" y="86552"/>
                    <a:pt x="2251075" y="35752"/>
                    <a:pt x="2324100" y="38927"/>
                  </a:cubicBezTo>
                  <a:cubicBezTo>
                    <a:pt x="2397125" y="42102"/>
                    <a:pt x="2451283" y="100945"/>
                    <a:pt x="2514600" y="105602"/>
                  </a:cubicBezTo>
                  <a:cubicBezTo>
                    <a:pt x="2577917" y="110260"/>
                    <a:pt x="2617159" y="75877"/>
                    <a:pt x="2704003" y="66872"/>
                  </a:cubicBezTo>
                  <a:cubicBezTo>
                    <a:pt x="2790847" y="57867"/>
                    <a:pt x="2937139" y="43132"/>
                    <a:pt x="3035666" y="51572"/>
                  </a:cubicBezTo>
                  <a:cubicBezTo>
                    <a:pt x="3134193" y="60012"/>
                    <a:pt x="3237548" y="108428"/>
                    <a:pt x="3295166" y="117511"/>
                  </a:cubicBezTo>
                  <a:cubicBezTo>
                    <a:pt x="3352784" y="126594"/>
                    <a:pt x="3367943" y="103395"/>
                    <a:pt x="3381375" y="106068"/>
                  </a:cubicBezTo>
                </a:path>
              </a:pathLst>
            </a:custGeom>
            <a:no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3E5DAC0E-32A7-47C1-8A77-5D66775B5953}"/>
                </a:ext>
              </a:extLst>
            </p:cNvPr>
            <p:cNvSpPr/>
            <p:nvPr/>
          </p:nvSpPr>
          <p:spPr>
            <a:xfrm>
              <a:off x="1194390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aggca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G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cacugag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3A586516-8E59-426C-9D72-DCC09143CB66}"/>
                </a:ext>
              </a:extLst>
            </p:cNvPr>
            <p:cNvSpPr/>
            <p:nvPr/>
          </p:nvSpPr>
          <p:spPr>
            <a:xfrm>
              <a:off x="7250802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ug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U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gccu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7F241CF-74AE-4694-A8B2-9692A668A9B2}"/>
                </a:ext>
              </a:extLst>
            </p:cNvPr>
            <p:cNvSpPr/>
            <p:nvPr/>
          </p:nvSpPr>
          <p:spPr>
            <a:xfrm>
              <a:off x="9518107" y="2500661"/>
              <a:ext cx="179568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gcagcc</a:t>
              </a:r>
              <a:r>
                <a:rPr lang="en-US" sz="1400" b="1" dirty="0" err="1">
                  <a:solidFill>
                    <a:schemeClr val="accent3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A</a:t>
              </a:r>
              <a:r>
                <a:rPr lang="en-US" sz="1400" dirty="0" err="1">
                  <a:latin typeface="Courier New" panose="02070309020205020404" pitchFamily="49" charset="0"/>
                  <a:cs typeface="Courier New" panose="02070309020205020404" pitchFamily="49" charset="0"/>
                </a:rPr>
                <a:t>uccugauc</a:t>
              </a:r>
              <a:endParaRPr lang="en-US" sz="140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96222E2C-9F81-47A2-98B5-065153BF1352}"/>
              </a:ext>
            </a:extLst>
          </p:cNvPr>
          <p:cNvGrpSpPr/>
          <p:nvPr/>
        </p:nvGrpSpPr>
        <p:grpSpPr>
          <a:xfrm>
            <a:off x="308008" y="5108624"/>
            <a:ext cx="2621235" cy="428568"/>
            <a:chOff x="308008" y="5060499"/>
            <a:chExt cx="2621235" cy="42856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1C580AF-02F9-444A-9B47-E1CE379222D0}"/>
                </a:ext>
              </a:extLst>
            </p:cNvPr>
            <p:cNvGrpSpPr/>
            <p:nvPr/>
          </p:nvGrpSpPr>
          <p:grpSpPr>
            <a:xfrm>
              <a:off x="1296104" y="5060499"/>
              <a:ext cx="1633139" cy="428568"/>
              <a:chOff x="1296104" y="5060499"/>
              <a:chExt cx="1633139" cy="428568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EC40D2BB-F5C5-4514-884D-9CD53FA6501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28" name="Left Brace 27">
                <a:extLst>
                  <a:ext uri="{FF2B5EF4-FFF2-40B4-BE49-F238E27FC236}">
                    <a16:creationId xmlns:a16="http://schemas.microsoft.com/office/drawing/2014/main" id="{98E16F93-A8CB-436D-9943-D87BA65E4A9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Left Brace 85">
                <a:extLst>
                  <a:ext uri="{FF2B5EF4-FFF2-40B4-BE49-F238E27FC236}">
                    <a16:creationId xmlns:a16="http://schemas.microsoft.com/office/drawing/2014/main" id="{FDD02F03-9894-4AF4-8F49-4D8D1793744E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3" name="Left Brace 92">
                <a:extLst>
                  <a:ext uri="{FF2B5EF4-FFF2-40B4-BE49-F238E27FC236}">
                    <a16:creationId xmlns:a16="http://schemas.microsoft.com/office/drawing/2014/main" id="{8FE5394F-0B54-4B1B-B0AB-DF78EB0D935B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Left Brace 93">
                <a:extLst>
                  <a:ext uri="{FF2B5EF4-FFF2-40B4-BE49-F238E27FC236}">
                    <a16:creationId xmlns:a16="http://schemas.microsoft.com/office/drawing/2014/main" id="{7BF9E114-771B-4291-B567-8A2216CBE775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Left Brace 94">
                <a:extLst>
                  <a:ext uri="{FF2B5EF4-FFF2-40B4-BE49-F238E27FC236}">
                    <a16:creationId xmlns:a16="http://schemas.microsoft.com/office/drawing/2014/main" id="{38791113-C745-4741-9B7E-819B7A799A2F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402BEC5-F058-4730-99E5-2959E2AA6A4E}"/>
                </a:ext>
              </a:extLst>
            </p:cNvPr>
            <p:cNvGrpSpPr/>
            <p:nvPr/>
          </p:nvGrpSpPr>
          <p:grpSpPr>
            <a:xfrm>
              <a:off x="308008" y="5261542"/>
              <a:ext cx="1068405" cy="102865"/>
              <a:chOff x="308008" y="5261542"/>
              <a:chExt cx="1068405" cy="102865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E758284-21F4-4694-A172-470F332DAC3F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0F37D94-62A8-41C2-8A69-36B02B9D7B97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A331A3DB-D0E2-4A26-93B1-8EF6A167630B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1AC2B3FC-3BAC-4FD9-B43B-B80C9095CDF7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A2B23653-F321-4CED-A5F2-A61C058AEAFD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0519DDEF-BB14-4A7A-8AE7-95CAD16070EF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C1C81471-E07B-4FC5-A911-346CCC05DAC6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BD0006E1-B37E-466F-B5C1-5FECC33DE586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D6DA2F4-5C21-4394-8C15-D060AABBC1F1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E47579F5-A839-4BE6-9E3F-46B86AFD2FF4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FB60C3EF-D083-4608-9689-8EA11E6B8464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D57D6A14-9378-4E75-A087-71761326513F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ABE9C3BB-84DA-47C6-B87B-090988FCFB65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224B056E-7AAF-448E-9766-66307F4BC9F2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A49F9CED-3AA6-4AFD-908A-3DFE659FDDF4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04E8F25D-8344-4018-A447-4CD8876E5740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9" name="Group 478">
            <a:extLst>
              <a:ext uri="{FF2B5EF4-FFF2-40B4-BE49-F238E27FC236}">
                <a16:creationId xmlns:a16="http://schemas.microsoft.com/office/drawing/2014/main" id="{6FDB7C16-FDC4-43E7-9B8C-074F4B6329DF}"/>
              </a:ext>
            </a:extLst>
          </p:cNvPr>
          <p:cNvGrpSpPr/>
          <p:nvPr/>
        </p:nvGrpSpPr>
        <p:grpSpPr>
          <a:xfrm>
            <a:off x="8848384" y="5108624"/>
            <a:ext cx="2918003" cy="428568"/>
            <a:chOff x="8848384" y="5060499"/>
            <a:chExt cx="2918003" cy="428568"/>
          </a:xfrm>
        </p:grpSpPr>
        <p:grpSp>
          <p:nvGrpSpPr>
            <p:cNvPr id="189" name="Group 188">
              <a:extLst>
                <a:ext uri="{FF2B5EF4-FFF2-40B4-BE49-F238E27FC236}">
                  <a16:creationId xmlns:a16="http://schemas.microsoft.com/office/drawing/2014/main" id="{F5B2BC66-A719-4672-BFB0-CA3498A7D807}"/>
                </a:ext>
              </a:extLst>
            </p:cNvPr>
            <p:cNvGrpSpPr/>
            <p:nvPr/>
          </p:nvGrpSpPr>
          <p:grpSpPr>
            <a:xfrm>
              <a:off x="9611921" y="5060499"/>
              <a:ext cx="1633139" cy="428568"/>
              <a:chOff x="1296104" y="5060499"/>
              <a:chExt cx="1633139" cy="428568"/>
            </a:xfrm>
          </p:grpSpPr>
          <p:sp>
            <p:nvSpPr>
              <p:cNvPr id="190" name="Rectangle 189">
                <a:extLst>
                  <a:ext uri="{FF2B5EF4-FFF2-40B4-BE49-F238E27FC236}">
                    <a16:creationId xmlns:a16="http://schemas.microsoft.com/office/drawing/2014/main" id="{5495AB2C-1BC9-48DE-B1F6-8B5CFC03D26D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I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191" name="Left Brace 190">
                <a:extLst>
                  <a:ext uri="{FF2B5EF4-FFF2-40B4-BE49-F238E27FC236}">
                    <a16:creationId xmlns:a16="http://schemas.microsoft.com/office/drawing/2014/main" id="{F7C9B67D-A69A-4FAD-9D87-8EF639BA1D49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2" name="Left Brace 191">
                <a:extLst>
                  <a:ext uri="{FF2B5EF4-FFF2-40B4-BE49-F238E27FC236}">
                    <a16:creationId xmlns:a16="http://schemas.microsoft.com/office/drawing/2014/main" id="{A5400EFE-DADD-4DCE-B642-2089A043C18A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3" name="Left Brace 192">
                <a:extLst>
                  <a:ext uri="{FF2B5EF4-FFF2-40B4-BE49-F238E27FC236}">
                    <a16:creationId xmlns:a16="http://schemas.microsoft.com/office/drawing/2014/main" id="{DAF3AC0E-2005-40AB-BBD5-DBB6F12B76D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4" name="Left Brace 193">
                <a:extLst>
                  <a:ext uri="{FF2B5EF4-FFF2-40B4-BE49-F238E27FC236}">
                    <a16:creationId xmlns:a16="http://schemas.microsoft.com/office/drawing/2014/main" id="{A44121B5-8D54-4873-ADA0-71C306A880B1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5" name="Left Brace 194">
                <a:extLst>
                  <a:ext uri="{FF2B5EF4-FFF2-40B4-BE49-F238E27FC236}">
                    <a16:creationId xmlns:a16="http://schemas.microsoft.com/office/drawing/2014/main" id="{9828E030-0DC9-4755-B7C6-D4D793169164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C59B2E6-4EE7-419F-84EF-6B7C316CEC1D}"/>
                </a:ext>
              </a:extLst>
            </p:cNvPr>
            <p:cNvGrpSpPr/>
            <p:nvPr/>
          </p:nvGrpSpPr>
          <p:grpSpPr>
            <a:xfrm>
              <a:off x="8848384" y="5271049"/>
              <a:ext cx="865999" cy="102865"/>
              <a:chOff x="8848384" y="5271049"/>
              <a:chExt cx="865999" cy="102865"/>
            </a:xfrm>
          </p:grpSpPr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28D14843-608B-4F72-9937-94B6E70E551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6F0F54E0-323F-4727-932F-9C653C4E2F9A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FF609F02-3E43-40DE-B035-444B1788CF32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4930ADB4-87B1-46E8-AA2E-18330B592884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662B6916-9555-4995-A682-BF0FFE7E9F9A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E9F69456-7C49-407B-9335-461D1B598FD1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EC22249-DF01-42CC-BC30-462CC9D4AA47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8AB67C7-EE67-450C-BA2D-30D3B642675A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7669BF-E1CC-401A-BC80-EFFAA82BA11C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A38585C4-BE71-4BB6-B485-D35A5FBD1236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72DC35C8-CD4B-4163-AB92-A9AC0A598E75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BDE5F98F-0D74-47D4-99D0-95A30CD324FC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6E617BCD-8795-46D0-B921-216CBAF5BAA3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479F909-6B03-437E-925B-370A3A715D95}"/>
                </a:ext>
              </a:extLst>
            </p:cNvPr>
            <p:cNvGrpSpPr/>
            <p:nvPr/>
          </p:nvGrpSpPr>
          <p:grpSpPr>
            <a:xfrm>
              <a:off x="11120792" y="5264034"/>
              <a:ext cx="645595" cy="102865"/>
              <a:chOff x="11120792" y="5264034"/>
              <a:chExt cx="645595" cy="102865"/>
            </a:xfrm>
          </p:grpSpPr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F376D711-1B20-4A09-BF86-8A1192291A7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CF9820E0-2476-4EB0-99F7-A70E0BA44A1F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B1B69107-0492-48A8-9FE1-78ADB00FE67D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578A300-E500-4447-B376-AD3A581A3A73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CDA7A64D-2637-4ECB-BFB3-ADB20E63453A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F00C6C03-81AA-4E38-8A33-6C22DCF95C77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CD4B0EE6-6F70-4016-918D-A9F83058E58B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AEA05DEF-3E20-448F-BDB3-263F5FFE8E53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4AA86F23-396F-406D-8A89-A24CB2886C9C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32CF56B0-5FE9-40FA-ABE3-F7BFF63EE4DE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667318F-78ED-44C0-B744-779A230C1C94}"/>
              </a:ext>
            </a:extLst>
          </p:cNvPr>
          <p:cNvGrpSpPr/>
          <p:nvPr/>
        </p:nvGrpSpPr>
        <p:grpSpPr>
          <a:xfrm>
            <a:off x="2809877" y="5108624"/>
            <a:ext cx="6173552" cy="428568"/>
            <a:chOff x="2809877" y="5060499"/>
            <a:chExt cx="6173552" cy="428568"/>
          </a:xfrm>
        </p:grpSpPr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C37A77A8-6745-46D8-B6D1-02221E177BF4}"/>
                </a:ext>
              </a:extLst>
            </p:cNvPr>
            <p:cNvGrpSpPr/>
            <p:nvPr/>
          </p:nvGrpSpPr>
          <p:grpSpPr>
            <a:xfrm>
              <a:off x="7350290" y="5060499"/>
              <a:ext cx="1633139" cy="428568"/>
              <a:chOff x="1296104" y="5060499"/>
              <a:chExt cx="1633139" cy="428568"/>
            </a:xfrm>
          </p:grpSpPr>
          <p:sp>
            <p:nvSpPr>
              <p:cNvPr id="183" name="Rectangle 182">
                <a:extLst>
                  <a:ext uri="{FF2B5EF4-FFF2-40B4-BE49-F238E27FC236}">
                    <a16:creationId xmlns:a16="http://schemas.microsoft.com/office/drawing/2014/main" id="{0048FAFA-2A2E-4517-8F4C-8AF47C5E5D60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184" name="Left Brace 183">
                <a:extLst>
                  <a:ext uri="{FF2B5EF4-FFF2-40B4-BE49-F238E27FC236}">
                    <a16:creationId xmlns:a16="http://schemas.microsoft.com/office/drawing/2014/main" id="{7A2F1BBE-3BE2-4260-8910-63A1F0C1D8D6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5" name="Left Brace 184">
                <a:extLst>
                  <a:ext uri="{FF2B5EF4-FFF2-40B4-BE49-F238E27FC236}">
                    <a16:creationId xmlns:a16="http://schemas.microsoft.com/office/drawing/2014/main" id="{2C633750-C3D1-4B1D-AA3B-88C2CC1FAD96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6" name="Left Brace 185">
                <a:extLst>
                  <a:ext uri="{FF2B5EF4-FFF2-40B4-BE49-F238E27FC236}">
                    <a16:creationId xmlns:a16="http://schemas.microsoft.com/office/drawing/2014/main" id="{F534AAF3-1011-4448-8FD7-C58988F9EA58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7" name="Left Brace 186">
                <a:extLst>
                  <a:ext uri="{FF2B5EF4-FFF2-40B4-BE49-F238E27FC236}">
                    <a16:creationId xmlns:a16="http://schemas.microsoft.com/office/drawing/2014/main" id="{000C7059-212F-470C-9B0F-EFEE731E48A0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Left Brace 187">
                <a:extLst>
                  <a:ext uri="{FF2B5EF4-FFF2-40B4-BE49-F238E27FC236}">
                    <a16:creationId xmlns:a16="http://schemas.microsoft.com/office/drawing/2014/main" id="{5E771B81-BC38-431F-A7CD-28D147BAA09D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09B39F0-77A9-4E2B-AB0A-E1419B4F20F9}"/>
                </a:ext>
              </a:extLst>
            </p:cNvPr>
            <p:cNvGrpSpPr/>
            <p:nvPr/>
          </p:nvGrpSpPr>
          <p:grpSpPr>
            <a:xfrm>
              <a:off x="2809877" y="5247265"/>
              <a:ext cx="4622004" cy="122248"/>
              <a:chOff x="2809877" y="5247265"/>
              <a:chExt cx="4622004" cy="122248"/>
            </a:xfrm>
          </p:grpSpPr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F1F5C516-DCC8-4231-BB55-A83171BE943D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0BF42A1-2999-4B9C-8CDE-8267F32547D0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34EDCBC8-E20F-43A8-8E61-87112097B529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7DBC5A50-635D-4A14-B3B8-B1EC791A1500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:a16="http://schemas.microsoft.com/office/drawing/2014/main" id="{CF3FC615-EE3D-454A-8363-2A0B13533E51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16AB0BDE-30B5-4EFE-A6AD-F9AA1EC3FB7E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52A30EAA-B92C-4420-AA0C-2C059C1D5EBF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59087767-1DD6-421C-B8DB-E73F0EAB480F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E02A6F79-D0C0-4573-BB5D-B0E5CD47ABBB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22C56730-E1ED-4249-81F9-BF53085B40CB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32EAF264-ABD2-4EE4-8449-38B6C82FCE1B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3B882C68-5141-459C-8CE0-B205A5C655D6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Oval 132">
                <a:extLst>
                  <a:ext uri="{FF2B5EF4-FFF2-40B4-BE49-F238E27FC236}">
                    <a16:creationId xmlns:a16="http://schemas.microsoft.com/office/drawing/2014/main" id="{744939CD-24C5-4670-B061-C913A9C5D9D8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Oval 133">
                <a:extLst>
                  <a:ext uri="{FF2B5EF4-FFF2-40B4-BE49-F238E27FC236}">
                    <a16:creationId xmlns:a16="http://schemas.microsoft.com/office/drawing/2014/main" id="{CF914146-6E1B-4649-80E9-B0E394BC0F4B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5" name="Oval 134">
                <a:extLst>
                  <a:ext uri="{FF2B5EF4-FFF2-40B4-BE49-F238E27FC236}">
                    <a16:creationId xmlns:a16="http://schemas.microsoft.com/office/drawing/2014/main" id="{4D62ED73-E6F4-4629-8D52-A93DF40D80FA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ED2063F2-65FF-4F7A-B2C4-612D8D8D4D84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7" name="Oval 136">
                <a:extLst>
                  <a:ext uri="{FF2B5EF4-FFF2-40B4-BE49-F238E27FC236}">
                    <a16:creationId xmlns:a16="http://schemas.microsoft.com/office/drawing/2014/main" id="{B44A59AB-CF19-466D-B9D8-2E4DFA3C932B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8" name="Oval 137">
                <a:extLst>
                  <a:ext uri="{FF2B5EF4-FFF2-40B4-BE49-F238E27FC236}">
                    <a16:creationId xmlns:a16="http://schemas.microsoft.com/office/drawing/2014/main" id="{B9966827-295B-48B1-8F12-03849BC2793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053C848-3766-48C3-83FB-6AFCF4E0452E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Oval 139">
                <a:extLst>
                  <a:ext uri="{FF2B5EF4-FFF2-40B4-BE49-F238E27FC236}">
                    <a16:creationId xmlns:a16="http://schemas.microsoft.com/office/drawing/2014/main" id="{0ECEFFD7-525B-4B6E-A27E-1012DFC245E1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1" name="Oval 140">
                <a:extLst>
                  <a:ext uri="{FF2B5EF4-FFF2-40B4-BE49-F238E27FC236}">
                    <a16:creationId xmlns:a16="http://schemas.microsoft.com/office/drawing/2014/main" id="{0264206C-DC5D-439A-B1A1-EABC197DA6EE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2" name="Oval 141">
                <a:extLst>
                  <a:ext uri="{FF2B5EF4-FFF2-40B4-BE49-F238E27FC236}">
                    <a16:creationId xmlns:a16="http://schemas.microsoft.com/office/drawing/2014/main" id="{273802A9-C38A-4A22-8679-6C10362A8E2E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3" name="Oval 142">
                <a:extLst>
                  <a:ext uri="{FF2B5EF4-FFF2-40B4-BE49-F238E27FC236}">
                    <a16:creationId xmlns:a16="http://schemas.microsoft.com/office/drawing/2014/main" id="{EBF37A75-188B-47DD-AC57-1FE5761B0FAA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44C942D1-4005-4FF5-A9C1-BF58EB04BE36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F4602C7B-227A-4717-98FE-3F235632CFFF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F7EED540-6FE5-4616-966A-899302EDFE93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DE41A0C7-5FA6-4DC4-A3D8-916B695648DB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8" name="Oval 147">
                <a:extLst>
                  <a:ext uri="{FF2B5EF4-FFF2-40B4-BE49-F238E27FC236}">
                    <a16:creationId xmlns:a16="http://schemas.microsoft.com/office/drawing/2014/main" id="{3CBA2C78-5814-4948-A77F-86A9B36035BB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Oval 148">
                <a:extLst>
                  <a:ext uri="{FF2B5EF4-FFF2-40B4-BE49-F238E27FC236}">
                    <a16:creationId xmlns:a16="http://schemas.microsoft.com/office/drawing/2014/main" id="{BFB10F6D-DA37-42FF-BD24-A34CC7C6613F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0" name="Oval 149">
                <a:extLst>
                  <a:ext uri="{FF2B5EF4-FFF2-40B4-BE49-F238E27FC236}">
                    <a16:creationId xmlns:a16="http://schemas.microsoft.com/office/drawing/2014/main" id="{0E2608CB-4AC0-4D04-8E07-164F3CD4AA38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1" name="Oval 150">
                <a:extLst>
                  <a:ext uri="{FF2B5EF4-FFF2-40B4-BE49-F238E27FC236}">
                    <a16:creationId xmlns:a16="http://schemas.microsoft.com/office/drawing/2014/main" id="{5E373502-08F6-4FBA-905C-FBF8764750CA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34F83403-E145-4174-B805-EF364B0B23DA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EF037416-FE81-413D-96E1-6D96005E214B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4" name="Oval 153">
                <a:extLst>
                  <a:ext uri="{FF2B5EF4-FFF2-40B4-BE49-F238E27FC236}">
                    <a16:creationId xmlns:a16="http://schemas.microsoft.com/office/drawing/2014/main" id="{42FA3B76-52E3-4EA0-B306-D43A5F1664FE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9FFDE0E4-005F-40EE-95B0-7114BDE73794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47EDF06D-11C0-431E-A6BF-CFAA5A82E055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03E13FDB-1CE7-427B-A5E9-CFB00A9CE6DF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8" name="Oval 157">
                <a:extLst>
                  <a:ext uri="{FF2B5EF4-FFF2-40B4-BE49-F238E27FC236}">
                    <a16:creationId xmlns:a16="http://schemas.microsoft.com/office/drawing/2014/main" id="{50EA8190-DB12-4D93-923C-7FFB996EBFD2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8825279-BBEE-47A1-9B14-FE54577BE7C0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17483A0D-9453-4563-874B-492876078281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D1D1A4BA-11EF-4290-BC3D-80F4F77E375F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2" name="Oval 161">
                <a:extLst>
                  <a:ext uri="{FF2B5EF4-FFF2-40B4-BE49-F238E27FC236}">
                    <a16:creationId xmlns:a16="http://schemas.microsoft.com/office/drawing/2014/main" id="{721C7755-CD0F-41B7-9445-67319D659E0B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0996A83E-4F01-4C3E-8E02-F5DBD30C1273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4" name="Oval 163">
                <a:extLst>
                  <a:ext uri="{FF2B5EF4-FFF2-40B4-BE49-F238E27FC236}">
                    <a16:creationId xmlns:a16="http://schemas.microsoft.com/office/drawing/2014/main" id="{2A0D13F9-41CC-4A67-88F1-D61B679BADD5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27BFB89E-D5E8-4662-AFDA-96B620288566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6" name="Oval 165">
                <a:extLst>
                  <a:ext uri="{FF2B5EF4-FFF2-40B4-BE49-F238E27FC236}">
                    <a16:creationId xmlns:a16="http://schemas.microsoft.com/office/drawing/2014/main" id="{72F15A55-5F4A-4E04-95A0-F457DC56303F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372CB6CF-8587-4851-B376-F6C2AFBED34B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806586F7-83D6-44CB-8ABB-3B5B8F53C7EB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0840472A-FF5C-4529-9043-7B24A9C57E86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0" name="Oval 169">
                <a:extLst>
                  <a:ext uri="{FF2B5EF4-FFF2-40B4-BE49-F238E27FC236}">
                    <a16:creationId xmlns:a16="http://schemas.microsoft.com/office/drawing/2014/main" id="{B28D2C40-24C7-429C-AF1E-4F332655042A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1" name="Oval 170">
                <a:extLst>
                  <a:ext uri="{FF2B5EF4-FFF2-40B4-BE49-F238E27FC236}">
                    <a16:creationId xmlns:a16="http://schemas.microsoft.com/office/drawing/2014/main" id="{CBBCEE86-E035-448E-9E13-A54209B7D03D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2" name="Oval 171">
                <a:extLst>
                  <a:ext uri="{FF2B5EF4-FFF2-40B4-BE49-F238E27FC236}">
                    <a16:creationId xmlns:a16="http://schemas.microsoft.com/office/drawing/2014/main" id="{2A593E93-FEAE-4CA6-8B88-EBEADA8F6B28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3" name="Oval 172">
                <a:extLst>
                  <a:ext uri="{FF2B5EF4-FFF2-40B4-BE49-F238E27FC236}">
                    <a16:creationId xmlns:a16="http://schemas.microsoft.com/office/drawing/2014/main" id="{75EADE92-D20D-4C8D-9E91-89E998FB9DB3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Oval 173">
                <a:extLst>
                  <a:ext uri="{FF2B5EF4-FFF2-40B4-BE49-F238E27FC236}">
                    <a16:creationId xmlns:a16="http://schemas.microsoft.com/office/drawing/2014/main" id="{615034B9-0F83-4F1A-8BBF-92295FB976BF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5" name="Oval 174">
                <a:extLst>
                  <a:ext uri="{FF2B5EF4-FFF2-40B4-BE49-F238E27FC236}">
                    <a16:creationId xmlns:a16="http://schemas.microsoft.com/office/drawing/2014/main" id="{3AE4FB2C-65DD-4BCE-A190-3A3391474F00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6805C953-2768-4862-B663-C45B78F510DF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B3E4DFFC-0489-41E0-AC64-57A888510685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8" name="Oval 177">
                <a:extLst>
                  <a:ext uri="{FF2B5EF4-FFF2-40B4-BE49-F238E27FC236}">
                    <a16:creationId xmlns:a16="http://schemas.microsoft.com/office/drawing/2014/main" id="{97E8085A-B78B-4CB7-AB30-C89FBB49A5E7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9" name="Oval 178">
                <a:extLst>
                  <a:ext uri="{FF2B5EF4-FFF2-40B4-BE49-F238E27FC236}">
                    <a16:creationId xmlns:a16="http://schemas.microsoft.com/office/drawing/2014/main" id="{95054F89-7F4D-4BCB-81B6-31A9A92B8BA6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0" name="Oval 179">
                <a:extLst>
                  <a:ext uri="{FF2B5EF4-FFF2-40B4-BE49-F238E27FC236}">
                    <a16:creationId xmlns:a16="http://schemas.microsoft.com/office/drawing/2014/main" id="{DF87D576-8F09-429F-A572-A8B4A4D12DCB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6211BEB8-BE92-4D0D-BD86-099E34C060E8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11A1AF04-907D-4136-9B0A-C8888459EA56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700B1EA4-972E-4A2F-B8D7-6157DFD38EA6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6BE0CA02-1F88-4DAE-A204-E49584C10D2B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9C1EAA51-B25D-4189-97AB-00508BE8EA82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F1E3688C-C4C4-4D2C-996C-20082EE9B5C4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3CC5653-07BB-40F0-AFC5-EC90C0E26FAD}"/>
                  </a:ext>
                </a:extLst>
              </p:cNvPr>
              <p:cNvSpPr/>
              <p:nvPr/>
            </p:nvSpPr>
            <p:spPr>
              <a:xfrm>
                <a:off x="2809877" y="5275299"/>
                <a:ext cx="4622004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  <a:gd name="connsiteX0" fmla="*/ 4643436 w 4643436"/>
                  <a:gd name="connsiteY0" fmla="*/ 27745 h 70610"/>
                  <a:gd name="connsiteX1" fmla="*/ 4552949 w 4643436"/>
                  <a:gd name="connsiteY1" fmla="*/ 63464 h 70610"/>
                  <a:gd name="connsiteX2" fmla="*/ 4424361 w 4643436"/>
                  <a:gd name="connsiteY2" fmla="*/ 68226 h 70610"/>
                  <a:gd name="connsiteX3" fmla="*/ 4283868 w 4643436"/>
                  <a:gd name="connsiteY3" fmla="*/ 34889 h 70610"/>
                  <a:gd name="connsiteX4" fmla="*/ 4219574 w 4643436"/>
                  <a:gd name="connsiteY4" fmla="*/ 15839 h 70610"/>
                  <a:gd name="connsiteX5" fmla="*/ 3995736 w 4643436"/>
                  <a:gd name="connsiteY5" fmla="*/ 61082 h 70610"/>
                  <a:gd name="connsiteX6" fmla="*/ 3786186 w 4643436"/>
                  <a:gd name="connsiteY6" fmla="*/ 49176 h 70610"/>
                  <a:gd name="connsiteX7" fmla="*/ 3721893 w 4643436"/>
                  <a:gd name="connsiteY7" fmla="*/ 18220 h 70610"/>
                  <a:gd name="connsiteX8" fmla="*/ 3581399 w 4643436"/>
                  <a:gd name="connsiteY8" fmla="*/ 27745 h 70610"/>
                  <a:gd name="connsiteX9" fmla="*/ 3378993 w 4643436"/>
                  <a:gd name="connsiteY9" fmla="*/ 70607 h 70610"/>
                  <a:gd name="connsiteX10" fmla="*/ 3245643 w 4643436"/>
                  <a:gd name="connsiteY10" fmla="*/ 25364 h 70610"/>
                  <a:gd name="connsiteX11" fmla="*/ 3114674 w 4643436"/>
                  <a:gd name="connsiteY11" fmla="*/ 34889 h 70610"/>
                  <a:gd name="connsiteX12" fmla="*/ 2902743 w 4643436"/>
                  <a:gd name="connsiteY12" fmla="*/ 63464 h 70610"/>
                  <a:gd name="connsiteX13" fmla="*/ 2755105 w 4643436"/>
                  <a:gd name="connsiteY13" fmla="*/ 46794 h 70610"/>
                  <a:gd name="connsiteX14" fmla="*/ 2621755 w 4643436"/>
                  <a:gd name="connsiteY14" fmla="*/ 15838 h 70610"/>
                  <a:gd name="connsiteX15" fmla="*/ 2347911 w 4643436"/>
                  <a:gd name="connsiteY15" fmla="*/ 68226 h 70610"/>
                  <a:gd name="connsiteX16" fmla="*/ 2159792 w 4643436"/>
                  <a:gd name="connsiteY16" fmla="*/ 25363 h 70610"/>
                  <a:gd name="connsiteX17" fmla="*/ 1874042 w 4643436"/>
                  <a:gd name="connsiteY17" fmla="*/ 44413 h 70610"/>
                  <a:gd name="connsiteX18" fmla="*/ 1659731 w 4643436"/>
                  <a:gd name="connsiteY18" fmla="*/ 1549 h 70610"/>
                  <a:gd name="connsiteX19" fmla="*/ 1340642 w 4643436"/>
                  <a:gd name="connsiteY19" fmla="*/ 49176 h 70610"/>
                  <a:gd name="connsiteX20" fmla="*/ 1166811 w 4643436"/>
                  <a:gd name="connsiteY20" fmla="*/ 11077 h 70610"/>
                  <a:gd name="connsiteX21" fmla="*/ 902492 w 4643436"/>
                  <a:gd name="connsiteY21" fmla="*/ 56320 h 70610"/>
                  <a:gd name="connsiteX22" fmla="*/ 626268 w 4643436"/>
                  <a:gd name="connsiteY22" fmla="*/ 8695 h 70610"/>
                  <a:gd name="connsiteX23" fmla="*/ 380999 w 4643436"/>
                  <a:gd name="connsiteY23" fmla="*/ 39651 h 70610"/>
                  <a:gd name="connsiteX24" fmla="*/ 266699 w 4643436"/>
                  <a:gd name="connsiteY24" fmla="*/ 61083 h 70610"/>
                  <a:gd name="connsiteX25" fmla="*/ 0 w 4643436"/>
                  <a:gd name="connsiteY25" fmla="*/ 15839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  <a:gd name="connsiteX0" fmla="*/ 4622004 w 4622004"/>
                  <a:gd name="connsiteY0" fmla="*/ 27745 h 70610"/>
                  <a:gd name="connsiteX1" fmla="*/ 4531517 w 4622004"/>
                  <a:gd name="connsiteY1" fmla="*/ 63464 h 70610"/>
                  <a:gd name="connsiteX2" fmla="*/ 4402929 w 4622004"/>
                  <a:gd name="connsiteY2" fmla="*/ 68226 h 70610"/>
                  <a:gd name="connsiteX3" fmla="*/ 4262436 w 4622004"/>
                  <a:gd name="connsiteY3" fmla="*/ 34889 h 70610"/>
                  <a:gd name="connsiteX4" fmla="*/ 4198142 w 4622004"/>
                  <a:gd name="connsiteY4" fmla="*/ 15839 h 70610"/>
                  <a:gd name="connsiteX5" fmla="*/ 3974304 w 4622004"/>
                  <a:gd name="connsiteY5" fmla="*/ 61082 h 70610"/>
                  <a:gd name="connsiteX6" fmla="*/ 3764754 w 4622004"/>
                  <a:gd name="connsiteY6" fmla="*/ 49176 h 70610"/>
                  <a:gd name="connsiteX7" fmla="*/ 3700461 w 4622004"/>
                  <a:gd name="connsiteY7" fmla="*/ 18220 h 70610"/>
                  <a:gd name="connsiteX8" fmla="*/ 3559967 w 4622004"/>
                  <a:gd name="connsiteY8" fmla="*/ 27745 h 70610"/>
                  <a:gd name="connsiteX9" fmla="*/ 3357561 w 4622004"/>
                  <a:gd name="connsiteY9" fmla="*/ 70607 h 70610"/>
                  <a:gd name="connsiteX10" fmla="*/ 3224211 w 4622004"/>
                  <a:gd name="connsiteY10" fmla="*/ 25364 h 70610"/>
                  <a:gd name="connsiteX11" fmla="*/ 3093242 w 4622004"/>
                  <a:gd name="connsiteY11" fmla="*/ 34889 h 70610"/>
                  <a:gd name="connsiteX12" fmla="*/ 2881311 w 4622004"/>
                  <a:gd name="connsiteY12" fmla="*/ 63464 h 70610"/>
                  <a:gd name="connsiteX13" fmla="*/ 2733673 w 4622004"/>
                  <a:gd name="connsiteY13" fmla="*/ 46794 h 70610"/>
                  <a:gd name="connsiteX14" fmla="*/ 2600323 w 4622004"/>
                  <a:gd name="connsiteY14" fmla="*/ 15838 h 70610"/>
                  <a:gd name="connsiteX15" fmla="*/ 2326479 w 4622004"/>
                  <a:gd name="connsiteY15" fmla="*/ 68226 h 70610"/>
                  <a:gd name="connsiteX16" fmla="*/ 2138360 w 4622004"/>
                  <a:gd name="connsiteY16" fmla="*/ 25363 h 70610"/>
                  <a:gd name="connsiteX17" fmla="*/ 1852610 w 4622004"/>
                  <a:gd name="connsiteY17" fmla="*/ 44413 h 70610"/>
                  <a:gd name="connsiteX18" fmla="*/ 1638299 w 4622004"/>
                  <a:gd name="connsiteY18" fmla="*/ 1549 h 70610"/>
                  <a:gd name="connsiteX19" fmla="*/ 1319210 w 4622004"/>
                  <a:gd name="connsiteY19" fmla="*/ 49176 h 70610"/>
                  <a:gd name="connsiteX20" fmla="*/ 1145379 w 4622004"/>
                  <a:gd name="connsiteY20" fmla="*/ 11077 h 70610"/>
                  <a:gd name="connsiteX21" fmla="*/ 881060 w 4622004"/>
                  <a:gd name="connsiteY21" fmla="*/ 56320 h 70610"/>
                  <a:gd name="connsiteX22" fmla="*/ 604836 w 4622004"/>
                  <a:gd name="connsiteY22" fmla="*/ 8695 h 70610"/>
                  <a:gd name="connsiteX23" fmla="*/ 359567 w 4622004"/>
                  <a:gd name="connsiteY23" fmla="*/ 39651 h 70610"/>
                  <a:gd name="connsiteX24" fmla="*/ 245267 w 4622004"/>
                  <a:gd name="connsiteY24" fmla="*/ 61083 h 70610"/>
                  <a:gd name="connsiteX25" fmla="*/ 0 w 4622004"/>
                  <a:gd name="connsiteY25" fmla="*/ 13457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622004" h="70610">
                    <a:moveTo>
                      <a:pt x="4622004" y="27745"/>
                    </a:moveTo>
                    <a:cubicBezTo>
                      <a:pt x="4595016" y="42231"/>
                      <a:pt x="4568029" y="56717"/>
                      <a:pt x="4531517" y="63464"/>
                    </a:cubicBezTo>
                    <a:cubicBezTo>
                      <a:pt x="4495005" y="70211"/>
                      <a:pt x="4447776" y="72988"/>
                      <a:pt x="4402929" y="68226"/>
                    </a:cubicBezTo>
                    <a:cubicBezTo>
                      <a:pt x="4358082" y="63464"/>
                      <a:pt x="4296567" y="43620"/>
                      <a:pt x="4262436" y="34889"/>
                    </a:cubicBezTo>
                    <a:cubicBezTo>
                      <a:pt x="4228305" y="26158"/>
                      <a:pt x="4246164" y="11474"/>
                      <a:pt x="4198142" y="15839"/>
                    </a:cubicBezTo>
                    <a:cubicBezTo>
                      <a:pt x="4150120" y="20204"/>
                      <a:pt x="4046535" y="55526"/>
                      <a:pt x="3974304" y="61082"/>
                    </a:cubicBezTo>
                    <a:cubicBezTo>
                      <a:pt x="3902073" y="66638"/>
                      <a:pt x="3810395" y="56320"/>
                      <a:pt x="3764754" y="49176"/>
                    </a:cubicBezTo>
                    <a:cubicBezTo>
                      <a:pt x="3719113" y="42032"/>
                      <a:pt x="3734592" y="21792"/>
                      <a:pt x="3700461" y="18220"/>
                    </a:cubicBezTo>
                    <a:cubicBezTo>
                      <a:pt x="3666330" y="14648"/>
                      <a:pt x="3617117" y="19014"/>
                      <a:pt x="3559967" y="27745"/>
                    </a:cubicBezTo>
                    <a:cubicBezTo>
                      <a:pt x="3502817" y="36476"/>
                      <a:pt x="3413520" y="71004"/>
                      <a:pt x="3357561" y="70607"/>
                    </a:cubicBezTo>
                    <a:cubicBezTo>
                      <a:pt x="3301602" y="70210"/>
                      <a:pt x="3268264" y="31317"/>
                      <a:pt x="3224211" y="25364"/>
                    </a:cubicBezTo>
                    <a:cubicBezTo>
                      <a:pt x="3180158" y="19411"/>
                      <a:pt x="3150392" y="28539"/>
                      <a:pt x="3093242" y="34889"/>
                    </a:cubicBezTo>
                    <a:cubicBezTo>
                      <a:pt x="3036092" y="41239"/>
                      <a:pt x="2941239" y="61480"/>
                      <a:pt x="2881311" y="63464"/>
                    </a:cubicBezTo>
                    <a:cubicBezTo>
                      <a:pt x="2821383" y="65448"/>
                      <a:pt x="2768597" y="57114"/>
                      <a:pt x="2733673" y="46794"/>
                    </a:cubicBezTo>
                    <a:cubicBezTo>
                      <a:pt x="2698749" y="36474"/>
                      <a:pt x="2667395" y="21791"/>
                      <a:pt x="2600323" y="15838"/>
                    </a:cubicBezTo>
                    <a:cubicBezTo>
                      <a:pt x="2533251" y="9885"/>
                      <a:pt x="2412601" y="62273"/>
                      <a:pt x="2326479" y="68226"/>
                    </a:cubicBezTo>
                    <a:lnTo>
                      <a:pt x="2138360" y="25363"/>
                    </a:lnTo>
                    <a:cubicBezTo>
                      <a:pt x="2060176" y="18219"/>
                      <a:pt x="1995088" y="40047"/>
                      <a:pt x="1852610" y="44413"/>
                    </a:cubicBezTo>
                    <a:cubicBezTo>
                      <a:pt x="1781173" y="30125"/>
                      <a:pt x="1757361" y="49174"/>
                      <a:pt x="1638299" y="1549"/>
                    </a:cubicBezTo>
                    <a:cubicBezTo>
                      <a:pt x="1549002" y="-5991"/>
                      <a:pt x="1485501" y="14648"/>
                      <a:pt x="1319210" y="49176"/>
                    </a:cubicBezTo>
                    <a:cubicBezTo>
                      <a:pt x="1222769" y="54733"/>
                      <a:pt x="1239438" y="27349"/>
                      <a:pt x="1145379" y="11077"/>
                    </a:cubicBezTo>
                    <a:cubicBezTo>
                      <a:pt x="1081482" y="6315"/>
                      <a:pt x="939003" y="51955"/>
                      <a:pt x="881060" y="56320"/>
                    </a:cubicBezTo>
                    <a:cubicBezTo>
                      <a:pt x="792557" y="63067"/>
                      <a:pt x="721120" y="61876"/>
                      <a:pt x="604836" y="8695"/>
                    </a:cubicBezTo>
                    <a:cubicBezTo>
                      <a:pt x="518317" y="2345"/>
                      <a:pt x="429814" y="30126"/>
                      <a:pt x="359567" y="39651"/>
                    </a:cubicBezTo>
                    <a:cubicBezTo>
                      <a:pt x="294876" y="42429"/>
                      <a:pt x="296067" y="63861"/>
                      <a:pt x="245267" y="61083"/>
                    </a:cubicBezTo>
                    <a:cubicBezTo>
                      <a:pt x="194467" y="58305"/>
                      <a:pt x="122237" y="18617"/>
                      <a:pt x="0" y="13457"/>
                    </a:cubicBezTo>
                  </a:path>
                </a:pathLst>
              </a:custGeom>
              <a:noFill/>
              <a:ln>
                <a:solidFill>
                  <a:srgbClr val="7030A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BE778F6C-0B47-4CD0-A93A-0A5072044569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7030A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136E370-B27E-40C7-B336-094DB9D44282}"/>
              </a:ext>
            </a:extLst>
          </p:cNvPr>
          <p:cNvGrpSpPr/>
          <p:nvPr/>
        </p:nvGrpSpPr>
        <p:grpSpPr>
          <a:xfrm>
            <a:off x="307838" y="2812316"/>
            <a:ext cx="2621235" cy="428568"/>
            <a:chOff x="307838" y="2764191"/>
            <a:chExt cx="2621235" cy="428568"/>
          </a:xfrm>
        </p:grpSpPr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37F0EFBA-2D2A-4547-865B-968AF58D1619}"/>
                </a:ext>
              </a:extLst>
            </p:cNvPr>
            <p:cNvGrpSpPr/>
            <p:nvPr/>
          </p:nvGrpSpPr>
          <p:grpSpPr>
            <a:xfrm>
              <a:off x="1295934" y="2764191"/>
              <a:ext cx="1633139" cy="428568"/>
              <a:chOff x="1296104" y="5060499"/>
              <a:chExt cx="1633139" cy="428568"/>
            </a:xfrm>
          </p:grpSpPr>
          <p:sp>
            <p:nvSpPr>
              <p:cNvPr id="346" name="Rectangle 345">
                <a:extLst>
                  <a:ext uri="{FF2B5EF4-FFF2-40B4-BE49-F238E27FC236}">
                    <a16:creationId xmlns:a16="http://schemas.microsoft.com/office/drawing/2014/main" id="{B2530491-C15A-48CF-B852-8A2019574643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R-Q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P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S</a:t>
                </a:r>
                <a:endParaRPr lang="en-US" spc="180" dirty="0"/>
              </a:p>
            </p:txBody>
          </p:sp>
          <p:sp>
            <p:nvSpPr>
              <p:cNvPr id="347" name="Left Brace 346">
                <a:extLst>
                  <a:ext uri="{FF2B5EF4-FFF2-40B4-BE49-F238E27FC236}">
                    <a16:creationId xmlns:a16="http://schemas.microsoft.com/office/drawing/2014/main" id="{EC8EF87B-1B4B-4486-8122-F6F16837C3B1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8" name="Left Brace 347">
                <a:extLst>
                  <a:ext uri="{FF2B5EF4-FFF2-40B4-BE49-F238E27FC236}">
                    <a16:creationId xmlns:a16="http://schemas.microsoft.com/office/drawing/2014/main" id="{B660C806-5365-456B-8267-3B93B7B01591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9" name="Left Brace 348">
                <a:extLst>
                  <a:ext uri="{FF2B5EF4-FFF2-40B4-BE49-F238E27FC236}">
                    <a16:creationId xmlns:a16="http://schemas.microsoft.com/office/drawing/2014/main" id="{F88B1166-37B7-4B30-87AF-D2E513B89940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0" name="Left Brace 349">
                <a:extLst>
                  <a:ext uri="{FF2B5EF4-FFF2-40B4-BE49-F238E27FC236}">
                    <a16:creationId xmlns:a16="http://schemas.microsoft.com/office/drawing/2014/main" id="{309FE0AC-9E78-4B0C-A832-5899768A0264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1" name="Left Brace 350">
                <a:extLst>
                  <a:ext uri="{FF2B5EF4-FFF2-40B4-BE49-F238E27FC236}">
                    <a16:creationId xmlns:a16="http://schemas.microsoft.com/office/drawing/2014/main" id="{B22E3173-E8A5-48DE-AD30-213F71A6566C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2" name="Group 351">
              <a:extLst>
                <a:ext uri="{FF2B5EF4-FFF2-40B4-BE49-F238E27FC236}">
                  <a16:creationId xmlns:a16="http://schemas.microsoft.com/office/drawing/2014/main" id="{A59706B5-FA15-486E-BDC4-E6FA99BC5800}"/>
                </a:ext>
              </a:extLst>
            </p:cNvPr>
            <p:cNvGrpSpPr/>
            <p:nvPr/>
          </p:nvGrpSpPr>
          <p:grpSpPr>
            <a:xfrm>
              <a:off x="307838" y="2965234"/>
              <a:ext cx="1068405" cy="102865"/>
              <a:chOff x="308008" y="5261542"/>
              <a:chExt cx="1068405" cy="102865"/>
            </a:xfrm>
          </p:grpSpPr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9CB19B87-E3FF-4B67-AAC7-1E0B519D58BB}"/>
                  </a:ext>
                </a:extLst>
              </p:cNvPr>
              <p:cNvSpPr/>
              <p:nvPr/>
            </p:nvSpPr>
            <p:spPr>
              <a:xfrm>
                <a:off x="308008" y="5284216"/>
                <a:ext cx="1068405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68405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27247" y="33742"/>
                      <a:pt x="712270" y="38555"/>
                    </a:cubicBezTo>
                    <a:cubicBezTo>
                      <a:pt x="797293" y="43368"/>
                      <a:pt x="932849" y="36148"/>
                      <a:pt x="1068405" y="289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4" name="Oval 353">
                <a:extLst>
                  <a:ext uri="{FF2B5EF4-FFF2-40B4-BE49-F238E27FC236}">
                    <a16:creationId xmlns:a16="http://schemas.microsoft.com/office/drawing/2014/main" id="{01F01768-E413-4A5B-B78D-A341D4327B3F}"/>
                  </a:ext>
                </a:extLst>
              </p:cNvPr>
              <p:cNvSpPr/>
              <p:nvPr/>
            </p:nvSpPr>
            <p:spPr>
              <a:xfrm rot="14450951" flipV="1">
                <a:off x="339634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5" name="Oval 354">
                <a:extLst>
                  <a:ext uri="{FF2B5EF4-FFF2-40B4-BE49-F238E27FC236}">
                    <a16:creationId xmlns:a16="http://schemas.microsoft.com/office/drawing/2014/main" id="{51E7BB66-9D07-464D-8B73-C3643795C9EC}"/>
                  </a:ext>
                </a:extLst>
              </p:cNvPr>
              <p:cNvSpPr/>
              <p:nvPr/>
            </p:nvSpPr>
            <p:spPr>
              <a:xfrm rot="14450951" flipV="1">
                <a:off x="408690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6" name="Oval 355">
                <a:extLst>
                  <a:ext uri="{FF2B5EF4-FFF2-40B4-BE49-F238E27FC236}">
                    <a16:creationId xmlns:a16="http://schemas.microsoft.com/office/drawing/2014/main" id="{8D54EEEE-941D-4A93-8ED1-1C9489F6B759}"/>
                  </a:ext>
                </a:extLst>
              </p:cNvPr>
              <p:cNvSpPr/>
              <p:nvPr/>
            </p:nvSpPr>
            <p:spPr>
              <a:xfrm rot="14450951" flipV="1">
                <a:off x="477746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7" name="Oval 356">
                <a:extLst>
                  <a:ext uri="{FF2B5EF4-FFF2-40B4-BE49-F238E27FC236}">
                    <a16:creationId xmlns:a16="http://schemas.microsoft.com/office/drawing/2014/main" id="{8D5D2538-043F-4556-9846-A07D990B2C50}"/>
                  </a:ext>
                </a:extLst>
              </p:cNvPr>
              <p:cNvSpPr/>
              <p:nvPr/>
            </p:nvSpPr>
            <p:spPr>
              <a:xfrm rot="14450951" flipV="1">
                <a:off x="546802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8" name="Oval 357">
                <a:extLst>
                  <a:ext uri="{FF2B5EF4-FFF2-40B4-BE49-F238E27FC236}">
                    <a16:creationId xmlns:a16="http://schemas.microsoft.com/office/drawing/2014/main" id="{DDB8F437-D0E4-49DE-8D6C-6B5F84F71A16}"/>
                  </a:ext>
                </a:extLst>
              </p:cNvPr>
              <p:cNvSpPr/>
              <p:nvPr/>
            </p:nvSpPr>
            <p:spPr>
              <a:xfrm rot="14450951" flipV="1">
                <a:off x="615858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9" name="Oval 358">
                <a:extLst>
                  <a:ext uri="{FF2B5EF4-FFF2-40B4-BE49-F238E27FC236}">
                    <a16:creationId xmlns:a16="http://schemas.microsoft.com/office/drawing/2014/main" id="{18FFFB6F-A5C7-42D6-B320-10FDC195C15E}"/>
                  </a:ext>
                </a:extLst>
              </p:cNvPr>
              <p:cNvSpPr/>
              <p:nvPr/>
            </p:nvSpPr>
            <p:spPr>
              <a:xfrm rot="14450951" flipV="1">
                <a:off x="684914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0" name="Oval 359">
                <a:extLst>
                  <a:ext uri="{FF2B5EF4-FFF2-40B4-BE49-F238E27FC236}">
                    <a16:creationId xmlns:a16="http://schemas.microsoft.com/office/drawing/2014/main" id="{AD62E4D4-7A19-40B5-B2BE-CC19EC37AB01}"/>
                  </a:ext>
                </a:extLst>
              </p:cNvPr>
              <p:cNvSpPr/>
              <p:nvPr/>
            </p:nvSpPr>
            <p:spPr>
              <a:xfrm rot="14450951" flipV="1">
                <a:off x="753970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1" name="Oval 360">
                <a:extLst>
                  <a:ext uri="{FF2B5EF4-FFF2-40B4-BE49-F238E27FC236}">
                    <a16:creationId xmlns:a16="http://schemas.microsoft.com/office/drawing/2014/main" id="{561743C2-9BA9-4AC7-9F6A-8AE898E5E3D9}"/>
                  </a:ext>
                </a:extLst>
              </p:cNvPr>
              <p:cNvSpPr/>
              <p:nvPr/>
            </p:nvSpPr>
            <p:spPr>
              <a:xfrm rot="14450951" flipV="1">
                <a:off x="823026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2" name="Oval 361">
                <a:extLst>
                  <a:ext uri="{FF2B5EF4-FFF2-40B4-BE49-F238E27FC236}">
                    <a16:creationId xmlns:a16="http://schemas.microsoft.com/office/drawing/2014/main" id="{B59B1DF3-4C25-44BC-B15E-413B17DF4D9F}"/>
                  </a:ext>
                </a:extLst>
              </p:cNvPr>
              <p:cNvSpPr/>
              <p:nvPr/>
            </p:nvSpPr>
            <p:spPr>
              <a:xfrm rot="14450951" flipV="1">
                <a:off x="892082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3" name="Oval 362">
                <a:extLst>
                  <a:ext uri="{FF2B5EF4-FFF2-40B4-BE49-F238E27FC236}">
                    <a16:creationId xmlns:a16="http://schemas.microsoft.com/office/drawing/2014/main" id="{E1B775D6-4269-4D36-ABBD-CD7183D0D055}"/>
                  </a:ext>
                </a:extLst>
              </p:cNvPr>
              <p:cNvSpPr/>
              <p:nvPr/>
            </p:nvSpPr>
            <p:spPr>
              <a:xfrm rot="14450951" flipV="1">
                <a:off x="961138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F292C415-6767-4761-9E14-65B04235C785}"/>
                  </a:ext>
                </a:extLst>
              </p:cNvPr>
              <p:cNvSpPr/>
              <p:nvPr/>
            </p:nvSpPr>
            <p:spPr>
              <a:xfrm rot="14450951" flipV="1">
                <a:off x="1030194" y="52996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5" name="Oval 364">
                <a:extLst>
                  <a:ext uri="{FF2B5EF4-FFF2-40B4-BE49-F238E27FC236}">
                    <a16:creationId xmlns:a16="http://schemas.microsoft.com/office/drawing/2014/main" id="{709E0A11-0996-41FF-8910-93B35EEB2214}"/>
                  </a:ext>
                </a:extLst>
              </p:cNvPr>
              <p:cNvSpPr/>
              <p:nvPr/>
            </p:nvSpPr>
            <p:spPr>
              <a:xfrm rot="14450951" flipV="1">
                <a:off x="1099250" y="529961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6" name="Oval 365">
                <a:extLst>
                  <a:ext uri="{FF2B5EF4-FFF2-40B4-BE49-F238E27FC236}">
                    <a16:creationId xmlns:a16="http://schemas.microsoft.com/office/drawing/2014/main" id="{02033202-5D52-4E07-8F9F-C5B4716552A1}"/>
                  </a:ext>
                </a:extLst>
              </p:cNvPr>
              <p:cNvSpPr/>
              <p:nvPr/>
            </p:nvSpPr>
            <p:spPr>
              <a:xfrm rot="14450951" flipV="1">
                <a:off x="1168306" y="529966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7" name="Oval 366">
                <a:extLst>
                  <a:ext uri="{FF2B5EF4-FFF2-40B4-BE49-F238E27FC236}">
                    <a16:creationId xmlns:a16="http://schemas.microsoft.com/office/drawing/2014/main" id="{CF34491F-60A0-494F-B0B3-0FC6D03AE0B8}"/>
                  </a:ext>
                </a:extLst>
              </p:cNvPr>
              <p:cNvSpPr/>
              <p:nvPr/>
            </p:nvSpPr>
            <p:spPr>
              <a:xfrm rot="14450951" flipV="1">
                <a:off x="1237362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8" name="Oval 367">
                <a:extLst>
                  <a:ext uri="{FF2B5EF4-FFF2-40B4-BE49-F238E27FC236}">
                    <a16:creationId xmlns:a16="http://schemas.microsoft.com/office/drawing/2014/main" id="{4DFAC19D-6588-4AD2-8980-EC4247CB22F7}"/>
                  </a:ext>
                </a:extLst>
              </p:cNvPr>
              <p:cNvSpPr/>
              <p:nvPr/>
            </p:nvSpPr>
            <p:spPr>
              <a:xfrm rot="14450951" flipV="1">
                <a:off x="1306422" y="529487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8" name="Group 477">
            <a:extLst>
              <a:ext uri="{FF2B5EF4-FFF2-40B4-BE49-F238E27FC236}">
                <a16:creationId xmlns:a16="http://schemas.microsoft.com/office/drawing/2014/main" id="{BF7DA6EF-CD6C-446F-BB54-134164212361}"/>
              </a:ext>
            </a:extLst>
          </p:cNvPr>
          <p:cNvGrpSpPr/>
          <p:nvPr/>
        </p:nvGrpSpPr>
        <p:grpSpPr>
          <a:xfrm>
            <a:off x="8848214" y="2812316"/>
            <a:ext cx="2918003" cy="428568"/>
            <a:chOff x="8848214" y="2764191"/>
            <a:chExt cx="2918003" cy="428568"/>
          </a:xfrm>
        </p:grpSpPr>
        <p:grpSp>
          <p:nvGrpSpPr>
            <p:cNvPr id="376" name="Group 375">
              <a:extLst>
                <a:ext uri="{FF2B5EF4-FFF2-40B4-BE49-F238E27FC236}">
                  <a16:creationId xmlns:a16="http://schemas.microsoft.com/office/drawing/2014/main" id="{093434BA-B2FB-47C6-9F3B-E2F0BB34907E}"/>
                </a:ext>
              </a:extLst>
            </p:cNvPr>
            <p:cNvGrpSpPr/>
            <p:nvPr/>
          </p:nvGrpSpPr>
          <p:grpSpPr>
            <a:xfrm>
              <a:off x="9611751" y="2764191"/>
              <a:ext cx="1633139" cy="428568"/>
              <a:chOff x="1296104" y="5060499"/>
              <a:chExt cx="1633139" cy="428568"/>
            </a:xfrm>
          </p:grpSpPr>
          <p:sp>
            <p:nvSpPr>
              <p:cNvPr id="377" name="Rectangle 376">
                <a:extLst>
                  <a:ext uri="{FF2B5EF4-FFF2-40B4-BE49-F238E27FC236}">
                    <a16:creationId xmlns:a16="http://schemas.microsoft.com/office/drawing/2014/main" id="{C230612D-405A-4759-915C-9520B4E9345F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A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V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L-I</a:t>
                </a:r>
                <a:endParaRPr lang="en-US" spc="180" dirty="0"/>
              </a:p>
            </p:txBody>
          </p:sp>
          <p:sp>
            <p:nvSpPr>
              <p:cNvPr id="378" name="Left Brace 377">
                <a:extLst>
                  <a:ext uri="{FF2B5EF4-FFF2-40B4-BE49-F238E27FC236}">
                    <a16:creationId xmlns:a16="http://schemas.microsoft.com/office/drawing/2014/main" id="{350BDAA6-646F-40F1-B1D7-F3ACB8F7FB0D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9" name="Left Brace 378">
                <a:extLst>
                  <a:ext uri="{FF2B5EF4-FFF2-40B4-BE49-F238E27FC236}">
                    <a16:creationId xmlns:a16="http://schemas.microsoft.com/office/drawing/2014/main" id="{E9EE0A69-912C-4B56-B866-D55AB4E2A385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0" name="Left Brace 379">
                <a:extLst>
                  <a:ext uri="{FF2B5EF4-FFF2-40B4-BE49-F238E27FC236}">
                    <a16:creationId xmlns:a16="http://schemas.microsoft.com/office/drawing/2014/main" id="{BD9E445B-F364-4738-AAD6-3009E0384A2D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1" name="Left Brace 380">
                <a:extLst>
                  <a:ext uri="{FF2B5EF4-FFF2-40B4-BE49-F238E27FC236}">
                    <a16:creationId xmlns:a16="http://schemas.microsoft.com/office/drawing/2014/main" id="{6B593A22-8A7A-4437-8EA3-FDE2F2ABDB47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2" name="Left Brace 381">
                <a:extLst>
                  <a:ext uri="{FF2B5EF4-FFF2-40B4-BE49-F238E27FC236}">
                    <a16:creationId xmlns:a16="http://schemas.microsoft.com/office/drawing/2014/main" id="{5865602F-2B9F-4C02-8CC6-FA1D75B52AB5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83" name="Group 382">
              <a:extLst>
                <a:ext uri="{FF2B5EF4-FFF2-40B4-BE49-F238E27FC236}">
                  <a16:creationId xmlns:a16="http://schemas.microsoft.com/office/drawing/2014/main" id="{B7BE2CCA-5CD6-4DD0-A991-FBE4D4C2ED21}"/>
                </a:ext>
              </a:extLst>
            </p:cNvPr>
            <p:cNvGrpSpPr/>
            <p:nvPr/>
          </p:nvGrpSpPr>
          <p:grpSpPr>
            <a:xfrm>
              <a:off x="8848214" y="2974741"/>
              <a:ext cx="865999" cy="102865"/>
              <a:chOff x="8848384" y="5271049"/>
              <a:chExt cx="865999" cy="102865"/>
            </a:xfrm>
          </p:grpSpPr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1AA74550-F169-45EF-82E4-07A8BB68DB83}"/>
                  </a:ext>
                </a:extLst>
              </p:cNvPr>
              <p:cNvSpPr/>
              <p:nvPr/>
            </p:nvSpPr>
            <p:spPr>
              <a:xfrm>
                <a:off x="8848384" y="5293723"/>
                <a:ext cx="865999" cy="48233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5999" h="48233">
                    <a:moveTo>
                      <a:pt x="0" y="19304"/>
                    </a:moveTo>
                    <a:cubicBezTo>
                      <a:pt x="27272" y="12085"/>
                      <a:pt x="54544" y="4866"/>
                      <a:pt x="96253" y="9679"/>
                    </a:cubicBezTo>
                    <a:cubicBezTo>
                      <a:pt x="137962" y="14492"/>
                      <a:pt x="173255" y="49784"/>
                      <a:pt x="250257" y="48180"/>
                    </a:cubicBezTo>
                    <a:cubicBezTo>
                      <a:pt x="327259" y="46576"/>
                      <a:pt x="481264" y="1657"/>
                      <a:pt x="558266" y="53"/>
                    </a:cubicBezTo>
                    <a:cubicBezTo>
                      <a:pt x="635268" y="-1551"/>
                      <a:pt x="660981" y="33346"/>
                      <a:pt x="712270" y="38555"/>
                    </a:cubicBezTo>
                    <a:cubicBezTo>
                      <a:pt x="763559" y="43764"/>
                      <a:pt x="773305" y="40910"/>
                      <a:pt x="865999" y="31310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5" name="Oval 384">
                <a:extLst>
                  <a:ext uri="{FF2B5EF4-FFF2-40B4-BE49-F238E27FC236}">
                    <a16:creationId xmlns:a16="http://schemas.microsoft.com/office/drawing/2014/main" id="{77166D8D-46E7-49A4-83CD-8AD3B50956F6}"/>
                  </a:ext>
                </a:extLst>
              </p:cNvPr>
              <p:cNvSpPr/>
              <p:nvPr/>
            </p:nvSpPr>
            <p:spPr>
              <a:xfrm rot="14450951" flipV="1">
                <a:off x="8880010" y="52853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6" name="Oval 385">
                <a:extLst>
                  <a:ext uri="{FF2B5EF4-FFF2-40B4-BE49-F238E27FC236}">
                    <a16:creationId xmlns:a16="http://schemas.microsoft.com/office/drawing/2014/main" id="{4D387019-5220-4B95-A9FB-80671AC64226}"/>
                  </a:ext>
                </a:extLst>
              </p:cNvPr>
              <p:cNvSpPr/>
              <p:nvPr/>
            </p:nvSpPr>
            <p:spPr>
              <a:xfrm rot="14450951" flipV="1">
                <a:off x="8949066" y="529011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7" name="Oval 386">
                <a:extLst>
                  <a:ext uri="{FF2B5EF4-FFF2-40B4-BE49-F238E27FC236}">
                    <a16:creationId xmlns:a16="http://schemas.microsoft.com/office/drawing/2014/main" id="{73D011E5-FED8-4F59-9AD6-F127C2936F8E}"/>
                  </a:ext>
                </a:extLst>
              </p:cNvPr>
              <p:cNvSpPr/>
              <p:nvPr/>
            </p:nvSpPr>
            <p:spPr>
              <a:xfrm rot="14450951" flipV="1">
                <a:off x="9018122" y="531391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8" name="Oval 387">
                <a:extLst>
                  <a:ext uri="{FF2B5EF4-FFF2-40B4-BE49-F238E27FC236}">
                    <a16:creationId xmlns:a16="http://schemas.microsoft.com/office/drawing/2014/main" id="{7712DCF3-A6B4-461A-AE60-B7C9F6A25094}"/>
                  </a:ext>
                </a:extLst>
              </p:cNvPr>
              <p:cNvSpPr/>
              <p:nvPr/>
            </p:nvSpPr>
            <p:spPr>
              <a:xfrm rot="14450951" flipV="1">
                <a:off x="9087178" y="532819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9" name="Oval 388">
                <a:extLst>
                  <a:ext uri="{FF2B5EF4-FFF2-40B4-BE49-F238E27FC236}">
                    <a16:creationId xmlns:a16="http://schemas.microsoft.com/office/drawing/2014/main" id="{DF66E90C-3A43-4117-B0AB-2A642CCB0DB8}"/>
                  </a:ext>
                </a:extLst>
              </p:cNvPr>
              <p:cNvSpPr/>
              <p:nvPr/>
            </p:nvSpPr>
            <p:spPr>
              <a:xfrm rot="14450951" flipV="1">
                <a:off x="9156234" y="53138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:a16="http://schemas.microsoft.com/office/drawing/2014/main" id="{959C1A23-05D4-4921-9F14-7DF4AC33DE81}"/>
                  </a:ext>
                </a:extLst>
              </p:cNvPr>
              <p:cNvSpPr/>
              <p:nvPr/>
            </p:nvSpPr>
            <p:spPr>
              <a:xfrm rot="14450951" flipV="1">
                <a:off x="9225290" y="52948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:a16="http://schemas.microsoft.com/office/drawing/2014/main" id="{63D4C819-626E-40D5-BDEB-3F57F10487FC}"/>
                  </a:ext>
                </a:extLst>
              </p:cNvPr>
              <p:cNvSpPr/>
              <p:nvPr/>
            </p:nvSpPr>
            <p:spPr>
              <a:xfrm rot="14450951" flipV="1">
                <a:off x="9294346" y="528058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:a16="http://schemas.microsoft.com/office/drawing/2014/main" id="{FFA6B09A-A40D-49C4-99C8-0825DF386451}"/>
                  </a:ext>
                </a:extLst>
              </p:cNvPr>
              <p:cNvSpPr/>
              <p:nvPr/>
            </p:nvSpPr>
            <p:spPr>
              <a:xfrm rot="14450951" flipV="1">
                <a:off x="9363402" y="527104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:a16="http://schemas.microsoft.com/office/drawing/2014/main" id="{29DCEE71-485C-4E6D-87D0-279EC8577A34}"/>
                  </a:ext>
                </a:extLst>
              </p:cNvPr>
              <p:cNvSpPr/>
              <p:nvPr/>
            </p:nvSpPr>
            <p:spPr>
              <a:xfrm rot="14450951" flipV="1">
                <a:off x="9432458" y="52758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:a16="http://schemas.microsoft.com/office/drawing/2014/main" id="{BCB7E02D-4332-4B2A-AEA5-039F9FFA4FE0}"/>
                  </a:ext>
                </a:extLst>
              </p:cNvPr>
              <p:cNvSpPr/>
              <p:nvPr/>
            </p:nvSpPr>
            <p:spPr>
              <a:xfrm rot="14450951" flipV="1">
                <a:off x="9501514" y="530912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:a16="http://schemas.microsoft.com/office/drawing/2014/main" id="{3C02E6FE-20D2-4F67-9125-BDF152CE7AA3}"/>
                  </a:ext>
                </a:extLst>
              </p:cNvPr>
              <p:cNvSpPr/>
              <p:nvPr/>
            </p:nvSpPr>
            <p:spPr>
              <a:xfrm rot="14450951" flipV="1">
                <a:off x="9570570" y="53091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:a16="http://schemas.microsoft.com/office/drawing/2014/main" id="{1F63F091-4A2C-4B5C-BC4F-1BA9BC19E481}"/>
                  </a:ext>
                </a:extLst>
              </p:cNvPr>
              <p:cNvSpPr/>
              <p:nvPr/>
            </p:nvSpPr>
            <p:spPr>
              <a:xfrm rot="14450951" flipV="1">
                <a:off x="9639626" y="53091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97" name="Group 396">
              <a:extLst>
                <a:ext uri="{FF2B5EF4-FFF2-40B4-BE49-F238E27FC236}">
                  <a16:creationId xmlns:a16="http://schemas.microsoft.com/office/drawing/2014/main" id="{D5EDF7EC-A7F6-456F-9FCC-FE71771B763D}"/>
                </a:ext>
              </a:extLst>
            </p:cNvPr>
            <p:cNvGrpSpPr/>
            <p:nvPr/>
          </p:nvGrpSpPr>
          <p:grpSpPr>
            <a:xfrm>
              <a:off x="11120622" y="2967726"/>
              <a:ext cx="645595" cy="102865"/>
              <a:chOff x="11120792" y="5264034"/>
              <a:chExt cx="645595" cy="102865"/>
            </a:xfrm>
          </p:grpSpPr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CCDDA3BC-1FEA-4CC2-99E1-922B41734BD5}"/>
                  </a:ext>
                </a:extLst>
              </p:cNvPr>
              <p:cNvSpPr/>
              <p:nvPr/>
            </p:nvSpPr>
            <p:spPr>
              <a:xfrm>
                <a:off x="11120792" y="5286165"/>
                <a:ext cx="645595" cy="48776"/>
              </a:xfrm>
              <a:custGeom>
                <a:avLst/>
                <a:gdLst>
                  <a:gd name="connsiteX0" fmla="*/ 0 w 1068405"/>
                  <a:gd name="connsiteY0" fmla="*/ 19304 h 48233"/>
                  <a:gd name="connsiteX1" fmla="*/ 96253 w 1068405"/>
                  <a:gd name="connsiteY1" fmla="*/ 9679 h 48233"/>
                  <a:gd name="connsiteX2" fmla="*/ 250257 w 1068405"/>
                  <a:gd name="connsiteY2" fmla="*/ 48180 h 48233"/>
                  <a:gd name="connsiteX3" fmla="*/ 558266 w 1068405"/>
                  <a:gd name="connsiteY3" fmla="*/ 53 h 48233"/>
                  <a:gd name="connsiteX4" fmla="*/ 712270 w 1068405"/>
                  <a:gd name="connsiteY4" fmla="*/ 38555 h 48233"/>
                  <a:gd name="connsiteX5" fmla="*/ 1068405 w 1068405"/>
                  <a:gd name="connsiteY5" fmla="*/ 28929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865999"/>
                  <a:gd name="connsiteY0" fmla="*/ 19304 h 48233"/>
                  <a:gd name="connsiteX1" fmla="*/ 96253 w 865999"/>
                  <a:gd name="connsiteY1" fmla="*/ 9679 h 48233"/>
                  <a:gd name="connsiteX2" fmla="*/ 250257 w 865999"/>
                  <a:gd name="connsiteY2" fmla="*/ 48180 h 48233"/>
                  <a:gd name="connsiteX3" fmla="*/ 558266 w 865999"/>
                  <a:gd name="connsiteY3" fmla="*/ 53 h 48233"/>
                  <a:gd name="connsiteX4" fmla="*/ 712270 w 865999"/>
                  <a:gd name="connsiteY4" fmla="*/ 38555 h 48233"/>
                  <a:gd name="connsiteX5" fmla="*/ 865999 w 865999"/>
                  <a:gd name="connsiteY5" fmla="*/ 31310 h 48233"/>
                  <a:gd name="connsiteX0" fmla="*/ 0 w 712270"/>
                  <a:gd name="connsiteY0" fmla="*/ 19304 h 48233"/>
                  <a:gd name="connsiteX1" fmla="*/ 96253 w 712270"/>
                  <a:gd name="connsiteY1" fmla="*/ 9679 h 48233"/>
                  <a:gd name="connsiteX2" fmla="*/ 250257 w 712270"/>
                  <a:gd name="connsiteY2" fmla="*/ 48180 h 48233"/>
                  <a:gd name="connsiteX3" fmla="*/ 558266 w 712270"/>
                  <a:gd name="connsiteY3" fmla="*/ 53 h 48233"/>
                  <a:gd name="connsiteX4" fmla="*/ 712270 w 712270"/>
                  <a:gd name="connsiteY4" fmla="*/ 38555 h 48233"/>
                  <a:gd name="connsiteX0" fmla="*/ 0 w 645595"/>
                  <a:gd name="connsiteY0" fmla="*/ 19847 h 48776"/>
                  <a:gd name="connsiteX1" fmla="*/ 96253 w 645595"/>
                  <a:gd name="connsiteY1" fmla="*/ 10222 h 48776"/>
                  <a:gd name="connsiteX2" fmla="*/ 250257 w 645595"/>
                  <a:gd name="connsiteY2" fmla="*/ 48723 h 48776"/>
                  <a:gd name="connsiteX3" fmla="*/ 558266 w 645595"/>
                  <a:gd name="connsiteY3" fmla="*/ 596 h 48776"/>
                  <a:gd name="connsiteX4" fmla="*/ 645595 w 645595"/>
                  <a:gd name="connsiteY4" fmla="*/ 22429 h 48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5595" h="48776">
                    <a:moveTo>
                      <a:pt x="0" y="19847"/>
                    </a:moveTo>
                    <a:cubicBezTo>
                      <a:pt x="27272" y="12628"/>
                      <a:pt x="54544" y="5409"/>
                      <a:pt x="96253" y="10222"/>
                    </a:cubicBezTo>
                    <a:cubicBezTo>
                      <a:pt x="137962" y="15035"/>
                      <a:pt x="173255" y="50327"/>
                      <a:pt x="250257" y="48723"/>
                    </a:cubicBezTo>
                    <a:cubicBezTo>
                      <a:pt x="327259" y="47119"/>
                      <a:pt x="492376" y="4978"/>
                      <a:pt x="558266" y="596"/>
                    </a:cubicBezTo>
                    <a:cubicBezTo>
                      <a:pt x="624156" y="-3786"/>
                      <a:pt x="594306" y="17220"/>
                      <a:pt x="645595" y="22429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:a16="http://schemas.microsoft.com/office/drawing/2014/main" id="{A755EBD6-CC58-44CC-92B5-C855C67396BD}"/>
                  </a:ext>
                </a:extLst>
              </p:cNvPr>
              <p:cNvSpPr/>
              <p:nvPr/>
            </p:nvSpPr>
            <p:spPr>
              <a:xfrm rot="14450951" flipV="1">
                <a:off x="11152419" y="527834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:a16="http://schemas.microsoft.com/office/drawing/2014/main" id="{909B9337-7BB5-4E06-9B93-CC2517EB3EB5}"/>
                  </a:ext>
                </a:extLst>
              </p:cNvPr>
              <p:cNvSpPr/>
              <p:nvPr/>
            </p:nvSpPr>
            <p:spPr>
              <a:xfrm rot="14450951" flipV="1">
                <a:off x="11221475" y="528309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:a16="http://schemas.microsoft.com/office/drawing/2014/main" id="{F1121DEE-2F40-42A1-B1B5-0E332166C7A4}"/>
                  </a:ext>
                </a:extLst>
              </p:cNvPr>
              <p:cNvSpPr/>
              <p:nvPr/>
            </p:nvSpPr>
            <p:spPr>
              <a:xfrm rot="14450951" flipV="1">
                <a:off x="11290531" y="5306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2" name="Oval 401">
                <a:extLst>
                  <a:ext uri="{FF2B5EF4-FFF2-40B4-BE49-F238E27FC236}">
                    <a16:creationId xmlns:a16="http://schemas.microsoft.com/office/drawing/2014/main" id="{E3E00C6C-F4F1-4EAD-82A6-874F6C4ABA0B}"/>
                  </a:ext>
                </a:extLst>
              </p:cNvPr>
              <p:cNvSpPr/>
              <p:nvPr/>
            </p:nvSpPr>
            <p:spPr>
              <a:xfrm rot="14450951" flipV="1">
                <a:off x="11359587" y="53211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3" name="Oval 402">
                <a:extLst>
                  <a:ext uri="{FF2B5EF4-FFF2-40B4-BE49-F238E27FC236}">
                    <a16:creationId xmlns:a16="http://schemas.microsoft.com/office/drawing/2014/main" id="{79CB6C44-D3BA-4B9D-B5A3-0F0938BF473D}"/>
                  </a:ext>
                </a:extLst>
              </p:cNvPr>
              <p:cNvSpPr/>
              <p:nvPr/>
            </p:nvSpPr>
            <p:spPr>
              <a:xfrm rot="14450951" flipV="1">
                <a:off x="11428643" y="53068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4" name="Oval 403">
                <a:extLst>
                  <a:ext uri="{FF2B5EF4-FFF2-40B4-BE49-F238E27FC236}">
                    <a16:creationId xmlns:a16="http://schemas.microsoft.com/office/drawing/2014/main" id="{3E8417A9-E312-4136-A193-C0E3D835612A}"/>
                  </a:ext>
                </a:extLst>
              </p:cNvPr>
              <p:cNvSpPr/>
              <p:nvPr/>
            </p:nvSpPr>
            <p:spPr>
              <a:xfrm rot="14450951" flipV="1">
                <a:off x="11497699" y="528787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5" name="Oval 404">
                <a:extLst>
                  <a:ext uri="{FF2B5EF4-FFF2-40B4-BE49-F238E27FC236}">
                    <a16:creationId xmlns:a16="http://schemas.microsoft.com/office/drawing/2014/main" id="{FDF47F1F-DE51-42BB-9301-166BD3FD8631}"/>
                  </a:ext>
                </a:extLst>
              </p:cNvPr>
              <p:cNvSpPr/>
              <p:nvPr/>
            </p:nvSpPr>
            <p:spPr>
              <a:xfrm rot="14450951" flipV="1">
                <a:off x="11566755" y="527357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6" name="Oval 405">
                <a:extLst>
                  <a:ext uri="{FF2B5EF4-FFF2-40B4-BE49-F238E27FC236}">
                    <a16:creationId xmlns:a16="http://schemas.microsoft.com/office/drawing/2014/main" id="{6DB44F82-806F-4862-B2DF-162E3CD29F81}"/>
                  </a:ext>
                </a:extLst>
              </p:cNvPr>
              <p:cNvSpPr/>
              <p:nvPr/>
            </p:nvSpPr>
            <p:spPr>
              <a:xfrm rot="14450951" flipV="1">
                <a:off x="11635811" y="52640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7" name="Oval 406">
                <a:extLst>
                  <a:ext uri="{FF2B5EF4-FFF2-40B4-BE49-F238E27FC236}">
                    <a16:creationId xmlns:a16="http://schemas.microsoft.com/office/drawing/2014/main" id="{142330E2-AB89-4850-9086-FE5FF3CD8957}"/>
                  </a:ext>
                </a:extLst>
              </p:cNvPr>
              <p:cNvSpPr/>
              <p:nvPr/>
            </p:nvSpPr>
            <p:spPr>
              <a:xfrm rot="14450951" flipV="1">
                <a:off x="11704867" y="526878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77" name="Group 476">
            <a:extLst>
              <a:ext uri="{FF2B5EF4-FFF2-40B4-BE49-F238E27FC236}">
                <a16:creationId xmlns:a16="http://schemas.microsoft.com/office/drawing/2014/main" id="{8DBF461E-97C7-4F7B-9AB8-DDFA866F039F}"/>
              </a:ext>
            </a:extLst>
          </p:cNvPr>
          <p:cNvGrpSpPr/>
          <p:nvPr/>
        </p:nvGrpSpPr>
        <p:grpSpPr>
          <a:xfrm>
            <a:off x="2841939" y="2812316"/>
            <a:ext cx="6141320" cy="428568"/>
            <a:chOff x="2841939" y="2764191"/>
            <a:chExt cx="6141320" cy="428568"/>
          </a:xfrm>
        </p:grpSpPr>
        <p:grpSp>
          <p:nvGrpSpPr>
            <p:cNvPr id="369" name="Group 368">
              <a:extLst>
                <a:ext uri="{FF2B5EF4-FFF2-40B4-BE49-F238E27FC236}">
                  <a16:creationId xmlns:a16="http://schemas.microsoft.com/office/drawing/2014/main" id="{58A2CD67-4737-4A8D-824F-7E936367C1E1}"/>
                </a:ext>
              </a:extLst>
            </p:cNvPr>
            <p:cNvGrpSpPr/>
            <p:nvPr/>
          </p:nvGrpSpPr>
          <p:grpSpPr>
            <a:xfrm>
              <a:off x="7350120" y="2764191"/>
              <a:ext cx="1633139" cy="428568"/>
              <a:chOff x="1296104" y="5060499"/>
              <a:chExt cx="1633139" cy="428568"/>
            </a:xfrm>
          </p:grpSpPr>
          <p:sp>
            <p:nvSpPr>
              <p:cNvPr id="370" name="Rectangle 369">
                <a:extLst>
                  <a:ext uri="{FF2B5EF4-FFF2-40B4-BE49-F238E27FC236}">
                    <a16:creationId xmlns:a16="http://schemas.microsoft.com/office/drawing/2014/main" id="{47D11CBB-F6FF-452C-98A2-8BF0C0368876}"/>
                  </a:ext>
                </a:extLst>
              </p:cNvPr>
              <p:cNvSpPr/>
              <p:nvPr/>
            </p:nvSpPr>
            <p:spPr>
              <a:xfrm>
                <a:off x="1296104" y="5119735"/>
                <a:ext cx="1633139" cy="3693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S-C-</a:t>
                </a:r>
                <a:r>
                  <a:rPr lang="en-US" altLang="en-US" b="1" spc="180" dirty="0">
                    <a:solidFill>
                      <a:schemeClr val="accent3"/>
                    </a:solidFill>
                    <a:latin typeface="Courier New" panose="02070309020205020404" pitchFamily="49" charset="0"/>
                  </a:rPr>
                  <a:t>A</a:t>
                </a:r>
                <a:r>
                  <a:rPr lang="en-US" altLang="en-US" spc="180" dirty="0">
                    <a:latin typeface="Courier New" panose="02070309020205020404" pitchFamily="49" charset="0"/>
                  </a:rPr>
                  <a:t>-</a:t>
                </a:r>
                <a:r>
                  <a:rPr lang="en-US" altLang="en-US" spc="180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-F</a:t>
                </a:r>
                <a:endParaRPr lang="en-US" spc="180" dirty="0"/>
              </a:p>
            </p:txBody>
          </p:sp>
          <p:sp>
            <p:nvSpPr>
              <p:cNvPr id="371" name="Left Brace 370">
                <a:extLst>
                  <a:ext uri="{FF2B5EF4-FFF2-40B4-BE49-F238E27FC236}">
                    <a16:creationId xmlns:a16="http://schemas.microsoft.com/office/drawing/2014/main" id="{3500C1A1-238C-494A-A291-41257B116DBB}"/>
                  </a:ext>
                </a:extLst>
              </p:cNvPr>
              <p:cNvSpPr/>
              <p:nvPr/>
            </p:nvSpPr>
            <p:spPr>
              <a:xfrm rot="16200000">
                <a:off x="1402096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2" name="Left Brace 371">
                <a:extLst>
                  <a:ext uri="{FF2B5EF4-FFF2-40B4-BE49-F238E27FC236}">
                    <a16:creationId xmlns:a16="http://schemas.microsoft.com/office/drawing/2014/main" id="{94498138-60D7-4F79-A8D0-C643AB5D3998}"/>
                  </a:ext>
                </a:extLst>
              </p:cNvPr>
              <p:cNvSpPr/>
              <p:nvPr/>
            </p:nvSpPr>
            <p:spPr>
              <a:xfrm rot="16200000">
                <a:off x="1722378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3" name="Left Brace 372">
                <a:extLst>
                  <a:ext uri="{FF2B5EF4-FFF2-40B4-BE49-F238E27FC236}">
                    <a16:creationId xmlns:a16="http://schemas.microsoft.com/office/drawing/2014/main" id="{E7B8FADB-160D-44AE-9529-5B1CE79C5B19}"/>
                  </a:ext>
                </a:extLst>
              </p:cNvPr>
              <p:cNvSpPr/>
              <p:nvPr/>
            </p:nvSpPr>
            <p:spPr>
              <a:xfrm rot="16200000">
                <a:off x="2042660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4" name="Left Brace 373">
                <a:extLst>
                  <a:ext uri="{FF2B5EF4-FFF2-40B4-BE49-F238E27FC236}">
                    <a16:creationId xmlns:a16="http://schemas.microsoft.com/office/drawing/2014/main" id="{4A47FB53-B617-4083-9F4A-41C810F21F19}"/>
                  </a:ext>
                </a:extLst>
              </p:cNvPr>
              <p:cNvSpPr/>
              <p:nvPr/>
            </p:nvSpPr>
            <p:spPr>
              <a:xfrm rot="16200000">
                <a:off x="2362942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5" name="Left Brace 374">
                <a:extLst>
                  <a:ext uri="{FF2B5EF4-FFF2-40B4-BE49-F238E27FC236}">
                    <a16:creationId xmlns:a16="http://schemas.microsoft.com/office/drawing/2014/main" id="{14A022C6-6596-4484-8E63-3D67F555C588}"/>
                  </a:ext>
                </a:extLst>
              </p:cNvPr>
              <p:cNvSpPr/>
              <p:nvPr/>
            </p:nvSpPr>
            <p:spPr>
              <a:xfrm rot="16200000">
                <a:off x="2683224" y="4959269"/>
                <a:ext cx="96878" cy="299338"/>
              </a:xfrm>
              <a:prstGeom prst="leftBrace">
                <a:avLst>
                  <a:gd name="adj1" fmla="val 43646"/>
                  <a:gd name="adj2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08" name="Group 407">
              <a:extLst>
                <a:ext uri="{FF2B5EF4-FFF2-40B4-BE49-F238E27FC236}">
                  <a16:creationId xmlns:a16="http://schemas.microsoft.com/office/drawing/2014/main" id="{00D9467E-97D0-483D-A1FC-4664D1F5795C}"/>
                </a:ext>
              </a:extLst>
            </p:cNvPr>
            <p:cNvGrpSpPr/>
            <p:nvPr/>
          </p:nvGrpSpPr>
          <p:grpSpPr>
            <a:xfrm>
              <a:off x="2841939" y="2950957"/>
              <a:ext cx="4589772" cy="122248"/>
              <a:chOff x="2842109" y="5247265"/>
              <a:chExt cx="4589772" cy="122248"/>
            </a:xfrm>
          </p:grpSpPr>
          <p:sp>
            <p:nvSpPr>
              <p:cNvPr id="409" name="Oval 408">
                <a:extLst>
                  <a:ext uri="{FF2B5EF4-FFF2-40B4-BE49-F238E27FC236}">
                    <a16:creationId xmlns:a16="http://schemas.microsoft.com/office/drawing/2014/main" id="{59C8A9BC-811B-4B42-880D-7591CDDC2ED9}"/>
                  </a:ext>
                </a:extLst>
              </p:cNvPr>
              <p:cNvSpPr/>
              <p:nvPr/>
            </p:nvSpPr>
            <p:spPr>
              <a:xfrm rot="14450951" flipV="1">
                <a:off x="2842109" y="52758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0" name="Oval 409">
                <a:extLst>
                  <a:ext uri="{FF2B5EF4-FFF2-40B4-BE49-F238E27FC236}">
                    <a16:creationId xmlns:a16="http://schemas.microsoft.com/office/drawing/2014/main" id="{342A5CB0-470D-477D-8298-D23C73F003EF}"/>
                  </a:ext>
                </a:extLst>
              </p:cNvPr>
              <p:cNvSpPr/>
              <p:nvPr/>
            </p:nvSpPr>
            <p:spPr>
              <a:xfrm rot="14450951" flipV="1">
                <a:off x="2911165" y="52806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1" name="Oval 410">
                <a:extLst>
                  <a:ext uri="{FF2B5EF4-FFF2-40B4-BE49-F238E27FC236}">
                    <a16:creationId xmlns:a16="http://schemas.microsoft.com/office/drawing/2014/main" id="{2AB5DD2A-42C4-4854-95FF-B297E6458D81}"/>
                  </a:ext>
                </a:extLst>
              </p:cNvPr>
              <p:cNvSpPr/>
              <p:nvPr/>
            </p:nvSpPr>
            <p:spPr>
              <a:xfrm rot="14450951" flipV="1">
                <a:off x="29802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2" name="Oval 411">
                <a:extLst>
                  <a:ext uri="{FF2B5EF4-FFF2-40B4-BE49-F238E27FC236}">
                    <a16:creationId xmlns:a16="http://schemas.microsoft.com/office/drawing/2014/main" id="{9A6600E9-E776-4EDA-A932-129048738C12}"/>
                  </a:ext>
                </a:extLst>
              </p:cNvPr>
              <p:cNvSpPr/>
              <p:nvPr/>
            </p:nvSpPr>
            <p:spPr>
              <a:xfrm rot="14450951" flipV="1">
                <a:off x="3049277" y="531868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3" name="Oval 412">
                <a:extLst>
                  <a:ext uri="{FF2B5EF4-FFF2-40B4-BE49-F238E27FC236}">
                    <a16:creationId xmlns:a16="http://schemas.microsoft.com/office/drawing/2014/main" id="{442135AC-9999-49EC-8B98-66A001DD22D5}"/>
                  </a:ext>
                </a:extLst>
              </p:cNvPr>
              <p:cNvSpPr/>
              <p:nvPr/>
            </p:nvSpPr>
            <p:spPr>
              <a:xfrm rot="14450951" flipV="1">
                <a:off x="3118333" y="53043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4" name="Oval 413">
                <a:extLst>
                  <a:ext uri="{FF2B5EF4-FFF2-40B4-BE49-F238E27FC236}">
                    <a16:creationId xmlns:a16="http://schemas.microsoft.com/office/drawing/2014/main" id="{9E357AE8-60DB-4D98-9151-C9502CD376A7}"/>
                  </a:ext>
                </a:extLst>
              </p:cNvPr>
              <p:cNvSpPr/>
              <p:nvPr/>
            </p:nvSpPr>
            <p:spPr>
              <a:xfrm rot="14450951" flipV="1">
                <a:off x="3187389" y="528538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5" name="Oval 414">
                <a:extLst>
                  <a:ext uri="{FF2B5EF4-FFF2-40B4-BE49-F238E27FC236}">
                    <a16:creationId xmlns:a16="http://schemas.microsoft.com/office/drawing/2014/main" id="{620239E9-C30C-46D6-A4E0-B66B7D143DDA}"/>
                  </a:ext>
                </a:extLst>
              </p:cNvPr>
              <p:cNvSpPr/>
              <p:nvPr/>
            </p:nvSpPr>
            <p:spPr>
              <a:xfrm rot="14450951" flipV="1">
                <a:off x="3256445" y="52710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6" name="Oval 415">
                <a:extLst>
                  <a:ext uri="{FF2B5EF4-FFF2-40B4-BE49-F238E27FC236}">
                    <a16:creationId xmlns:a16="http://schemas.microsoft.com/office/drawing/2014/main" id="{6E3AC40B-E5D6-467E-9A27-290C92C52D89}"/>
                  </a:ext>
                </a:extLst>
              </p:cNvPr>
              <p:cNvSpPr/>
              <p:nvPr/>
            </p:nvSpPr>
            <p:spPr>
              <a:xfrm rot="14450951" flipV="1">
                <a:off x="3325501" y="52615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7" name="Oval 416">
                <a:extLst>
                  <a:ext uri="{FF2B5EF4-FFF2-40B4-BE49-F238E27FC236}">
                    <a16:creationId xmlns:a16="http://schemas.microsoft.com/office/drawing/2014/main" id="{5B0F9CB3-26BC-4950-A07D-626E29CDD301}"/>
                  </a:ext>
                </a:extLst>
              </p:cNvPr>
              <p:cNvSpPr/>
              <p:nvPr/>
            </p:nvSpPr>
            <p:spPr>
              <a:xfrm rot="14450951" flipV="1">
                <a:off x="3394557" y="52662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8" name="Oval 417">
                <a:extLst>
                  <a:ext uri="{FF2B5EF4-FFF2-40B4-BE49-F238E27FC236}">
                    <a16:creationId xmlns:a16="http://schemas.microsoft.com/office/drawing/2014/main" id="{4B376DFB-7B08-4AE8-9D32-3147E3F2F676}"/>
                  </a:ext>
                </a:extLst>
              </p:cNvPr>
              <p:cNvSpPr/>
              <p:nvPr/>
            </p:nvSpPr>
            <p:spPr>
              <a:xfrm rot="14450951" flipV="1">
                <a:off x="3463613" y="52996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9" name="Oval 418">
                <a:extLst>
                  <a:ext uri="{FF2B5EF4-FFF2-40B4-BE49-F238E27FC236}">
                    <a16:creationId xmlns:a16="http://schemas.microsoft.com/office/drawing/2014/main" id="{12AA2608-A970-4FFA-ABF7-8BACF87AF1B6}"/>
                  </a:ext>
                </a:extLst>
              </p:cNvPr>
              <p:cNvSpPr/>
              <p:nvPr/>
            </p:nvSpPr>
            <p:spPr>
              <a:xfrm rot="14450951" flipV="1">
                <a:off x="3532669" y="531153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0" name="Oval 419">
                <a:extLst>
                  <a:ext uri="{FF2B5EF4-FFF2-40B4-BE49-F238E27FC236}">
                    <a16:creationId xmlns:a16="http://schemas.microsoft.com/office/drawing/2014/main" id="{216AD0F4-24E5-4EDC-B239-968E4A842360}"/>
                  </a:ext>
                </a:extLst>
              </p:cNvPr>
              <p:cNvSpPr/>
              <p:nvPr/>
            </p:nvSpPr>
            <p:spPr>
              <a:xfrm rot="14450951" flipV="1">
                <a:off x="3601725" y="531152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1" name="Oval 420">
                <a:extLst>
                  <a:ext uri="{FF2B5EF4-FFF2-40B4-BE49-F238E27FC236}">
                    <a16:creationId xmlns:a16="http://schemas.microsoft.com/office/drawing/2014/main" id="{21EF21A0-BDF1-4490-8B60-0CC2ACAF40E9}"/>
                  </a:ext>
                </a:extLst>
              </p:cNvPr>
              <p:cNvSpPr/>
              <p:nvPr/>
            </p:nvSpPr>
            <p:spPr>
              <a:xfrm rot="14450951" flipV="1">
                <a:off x="3670781" y="530680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2" name="Oval 421">
                <a:extLst>
                  <a:ext uri="{FF2B5EF4-FFF2-40B4-BE49-F238E27FC236}">
                    <a16:creationId xmlns:a16="http://schemas.microsoft.com/office/drawing/2014/main" id="{991BFE7B-31DE-4734-B6A7-02F816100D18}"/>
                  </a:ext>
                </a:extLst>
              </p:cNvPr>
              <p:cNvSpPr/>
              <p:nvPr/>
            </p:nvSpPr>
            <p:spPr>
              <a:xfrm rot="14450951" flipV="1">
                <a:off x="3739837" y="529965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3" name="Oval 422">
                <a:extLst>
                  <a:ext uri="{FF2B5EF4-FFF2-40B4-BE49-F238E27FC236}">
                    <a16:creationId xmlns:a16="http://schemas.microsoft.com/office/drawing/2014/main" id="{767D8649-D5AA-42AD-88CF-88CBF1E54590}"/>
                  </a:ext>
                </a:extLst>
              </p:cNvPr>
              <p:cNvSpPr/>
              <p:nvPr/>
            </p:nvSpPr>
            <p:spPr>
              <a:xfrm rot="14450951" flipV="1">
                <a:off x="3808897" y="528535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Oval 423">
                <a:extLst>
                  <a:ext uri="{FF2B5EF4-FFF2-40B4-BE49-F238E27FC236}">
                    <a16:creationId xmlns:a16="http://schemas.microsoft.com/office/drawing/2014/main" id="{9EF7AB5C-5C4C-43E2-97E7-F7DAC14FFB68}"/>
                  </a:ext>
                </a:extLst>
              </p:cNvPr>
              <p:cNvSpPr/>
              <p:nvPr/>
            </p:nvSpPr>
            <p:spPr>
              <a:xfrm rot="14450951" flipV="1">
                <a:off x="3877953" y="526157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5" name="Oval 424">
                <a:extLst>
                  <a:ext uri="{FF2B5EF4-FFF2-40B4-BE49-F238E27FC236}">
                    <a16:creationId xmlns:a16="http://schemas.microsoft.com/office/drawing/2014/main" id="{74F0ED5A-AED0-442A-9F48-BBC225C4BD43}"/>
                  </a:ext>
                </a:extLst>
              </p:cNvPr>
              <p:cNvSpPr/>
              <p:nvPr/>
            </p:nvSpPr>
            <p:spPr>
              <a:xfrm rot="14450951" flipV="1">
                <a:off x="3947009" y="52663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6" name="Oval 425">
                <a:extLst>
                  <a:ext uri="{FF2B5EF4-FFF2-40B4-BE49-F238E27FC236}">
                    <a16:creationId xmlns:a16="http://schemas.microsoft.com/office/drawing/2014/main" id="{7C91E5D0-971C-469E-A967-19E88D05910E}"/>
                  </a:ext>
                </a:extLst>
              </p:cNvPr>
              <p:cNvSpPr/>
              <p:nvPr/>
            </p:nvSpPr>
            <p:spPr>
              <a:xfrm rot="14450951" flipV="1">
                <a:off x="4016065" y="52901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CE93E97E-1C9F-441F-9FC6-95776234AAFC}"/>
                  </a:ext>
                </a:extLst>
              </p:cNvPr>
              <p:cNvSpPr/>
              <p:nvPr/>
            </p:nvSpPr>
            <p:spPr>
              <a:xfrm rot="14450951" flipV="1">
                <a:off x="4085121" y="530441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8" name="Oval 427">
                <a:extLst>
                  <a:ext uri="{FF2B5EF4-FFF2-40B4-BE49-F238E27FC236}">
                    <a16:creationId xmlns:a16="http://schemas.microsoft.com/office/drawing/2014/main" id="{415772D1-FE03-4B1E-9E8D-14CEAEFD621D}"/>
                  </a:ext>
                </a:extLst>
              </p:cNvPr>
              <p:cNvSpPr/>
              <p:nvPr/>
            </p:nvSpPr>
            <p:spPr>
              <a:xfrm rot="14450951" flipV="1">
                <a:off x="4154177" y="529010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058AA601-E6FF-4ADA-A1B2-0DBED23F38FD}"/>
                  </a:ext>
                </a:extLst>
              </p:cNvPr>
              <p:cNvSpPr/>
              <p:nvPr/>
            </p:nvSpPr>
            <p:spPr>
              <a:xfrm rot="14450951" flipV="1">
                <a:off x="4223233" y="527110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0" name="Oval 429">
                <a:extLst>
                  <a:ext uri="{FF2B5EF4-FFF2-40B4-BE49-F238E27FC236}">
                    <a16:creationId xmlns:a16="http://schemas.microsoft.com/office/drawing/2014/main" id="{ADBBA5BB-060C-44D5-B3C8-1227A07F3376}"/>
                  </a:ext>
                </a:extLst>
              </p:cNvPr>
              <p:cNvSpPr/>
              <p:nvPr/>
            </p:nvSpPr>
            <p:spPr>
              <a:xfrm rot="14450951" flipV="1">
                <a:off x="4292289" y="52568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AF259460-B9BE-443B-ABE6-44F7FA661A08}"/>
                  </a:ext>
                </a:extLst>
              </p:cNvPr>
              <p:cNvSpPr/>
              <p:nvPr/>
            </p:nvSpPr>
            <p:spPr>
              <a:xfrm rot="14450951" flipV="1">
                <a:off x="4361345" y="52472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2" name="Oval 431">
                <a:extLst>
                  <a:ext uri="{FF2B5EF4-FFF2-40B4-BE49-F238E27FC236}">
                    <a16:creationId xmlns:a16="http://schemas.microsoft.com/office/drawing/2014/main" id="{8BBDBDDD-FF2F-4342-AD3E-916DE805B120}"/>
                  </a:ext>
                </a:extLst>
              </p:cNvPr>
              <p:cNvSpPr/>
              <p:nvPr/>
            </p:nvSpPr>
            <p:spPr>
              <a:xfrm rot="14450951" flipV="1">
                <a:off x="4430401" y="525201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B4E3131-6DEF-498E-B743-05B3DA03CDEC}"/>
                  </a:ext>
                </a:extLst>
              </p:cNvPr>
              <p:cNvSpPr/>
              <p:nvPr/>
            </p:nvSpPr>
            <p:spPr>
              <a:xfrm rot="14450951" flipV="1">
                <a:off x="4499457" y="52853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4" name="Oval 433">
                <a:extLst>
                  <a:ext uri="{FF2B5EF4-FFF2-40B4-BE49-F238E27FC236}">
                    <a16:creationId xmlns:a16="http://schemas.microsoft.com/office/drawing/2014/main" id="{D33CD329-3481-4600-8E02-498886689126}"/>
                  </a:ext>
                </a:extLst>
              </p:cNvPr>
              <p:cNvSpPr/>
              <p:nvPr/>
            </p:nvSpPr>
            <p:spPr>
              <a:xfrm rot="14450951" flipV="1">
                <a:off x="4568513" y="529725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4D0C022E-0098-4FFB-B16E-1D828EDB9E77}"/>
                  </a:ext>
                </a:extLst>
              </p:cNvPr>
              <p:cNvSpPr/>
              <p:nvPr/>
            </p:nvSpPr>
            <p:spPr>
              <a:xfrm rot="14450951" flipV="1">
                <a:off x="4637569" y="529724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6" name="Oval 435">
                <a:extLst>
                  <a:ext uri="{FF2B5EF4-FFF2-40B4-BE49-F238E27FC236}">
                    <a16:creationId xmlns:a16="http://schemas.microsoft.com/office/drawing/2014/main" id="{931116FC-59A2-4E34-92D7-9F2405B08582}"/>
                  </a:ext>
                </a:extLst>
              </p:cNvPr>
              <p:cNvSpPr/>
              <p:nvPr/>
            </p:nvSpPr>
            <p:spPr>
              <a:xfrm rot="14450951" flipV="1">
                <a:off x="4706625" y="52925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7" name="Oval 436">
                <a:extLst>
                  <a:ext uri="{FF2B5EF4-FFF2-40B4-BE49-F238E27FC236}">
                    <a16:creationId xmlns:a16="http://schemas.microsoft.com/office/drawing/2014/main" id="{C6CC69E4-2819-4B37-B523-3FBE9CCBE4DA}"/>
                  </a:ext>
                </a:extLst>
              </p:cNvPr>
              <p:cNvSpPr/>
              <p:nvPr/>
            </p:nvSpPr>
            <p:spPr>
              <a:xfrm rot="14450951" flipV="1">
                <a:off x="4775681" y="528537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8" name="Oval 437">
                <a:extLst>
                  <a:ext uri="{FF2B5EF4-FFF2-40B4-BE49-F238E27FC236}">
                    <a16:creationId xmlns:a16="http://schemas.microsoft.com/office/drawing/2014/main" id="{DC46EC69-CCF7-456A-A483-46C32DB5408C}"/>
                  </a:ext>
                </a:extLst>
              </p:cNvPr>
              <p:cNvSpPr/>
              <p:nvPr/>
            </p:nvSpPr>
            <p:spPr>
              <a:xfrm rot="14450951" flipV="1">
                <a:off x="4844741" y="52710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39" name="Oval 438">
                <a:extLst>
                  <a:ext uri="{FF2B5EF4-FFF2-40B4-BE49-F238E27FC236}">
                    <a16:creationId xmlns:a16="http://schemas.microsoft.com/office/drawing/2014/main" id="{CC60D346-4146-43A4-A84C-D7F994C76113}"/>
                  </a:ext>
                </a:extLst>
              </p:cNvPr>
              <p:cNvSpPr/>
              <p:nvPr/>
            </p:nvSpPr>
            <p:spPr>
              <a:xfrm rot="14450951" flipV="1">
                <a:off x="4906942" y="527840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0" name="Oval 439">
                <a:extLst>
                  <a:ext uri="{FF2B5EF4-FFF2-40B4-BE49-F238E27FC236}">
                    <a16:creationId xmlns:a16="http://schemas.microsoft.com/office/drawing/2014/main" id="{778981FF-063B-4929-A171-9C3439B59212}"/>
                  </a:ext>
                </a:extLst>
              </p:cNvPr>
              <p:cNvSpPr/>
              <p:nvPr/>
            </p:nvSpPr>
            <p:spPr>
              <a:xfrm rot="14450951" flipV="1">
                <a:off x="4975998" y="52831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1" name="Oval 440">
                <a:extLst>
                  <a:ext uri="{FF2B5EF4-FFF2-40B4-BE49-F238E27FC236}">
                    <a16:creationId xmlns:a16="http://schemas.microsoft.com/office/drawing/2014/main" id="{136BA07D-AC1F-48FD-9CEA-F20EC0E4A7C8}"/>
                  </a:ext>
                </a:extLst>
              </p:cNvPr>
              <p:cNvSpPr/>
              <p:nvPr/>
            </p:nvSpPr>
            <p:spPr>
              <a:xfrm rot="14450951" flipV="1">
                <a:off x="5045054" y="530695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2" name="Oval 441">
                <a:extLst>
                  <a:ext uri="{FF2B5EF4-FFF2-40B4-BE49-F238E27FC236}">
                    <a16:creationId xmlns:a16="http://schemas.microsoft.com/office/drawing/2014/main" id="{86E1257E-CC5D-4A26-A205-4F938B3B1923}"/>
                  </a:ext>
                </a:extLst>
              </p:cNvPr>
              <p:cNvSpPr/>
              <p:nvPr/>
            </p:nvSpPr>
            <p:spPr>
              <a:xfrm rot="14450951" flipV="1">
                <a:off x="5114110" y="532123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3" name="Oval 442">
                <a:extLst>
                  <a:ext uri="{FF2B5EF4-FFF2-40B4-BE49-F238E27FC236}">
                    <a16:creationId xmlns:a16="http://schemas.microsoft.com/office/drawing/2014/main" id="{D21B7C74-179B-40B5-BF0A-89BE93377AFD}"/>
                  </a:ext>
                </a:extLst>
              </p:cNvPr>
              <p:cNvSpPr/>
              <p:nvPr/>
            </p:nvSpPr>
            <p:spPr>
              <a:xfrm rot="14450951" flipV="1">
                <a:off x="5183166" y="530693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4" name="Oval 443">
                <a:extLst>
                  <a:ext uri="{FF2B5EF4-FFF2-40B4-BE49-F238E27FC236}">
                    <a16:creationId xmlns:a16="http://schemas.microsoft.com/office/drawing/2014/main" id="{3A32CE23-4D43-4F6E-91CB-012DBEA4628E}"/>
                  </a:ext>
                </a:extLst>
              </p:cNvPr>
              <p:cNvSpPr/>
              <p:nvPr/>
            </p:nvSpPr>
            <p:spPr>
              <a:xfrm rot="14450951" flipV="1">
                <a:off x="5252222" y="52879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5" name="Oval 444">
                <a:extLst>
                  <a:ext uri="{FF2B5EF4-FFF2-40B4-BE49-F238E27FC236}">
                    <a16:creationId xmlns:a16="http://schemas.microsoft.com/office/drawing/2014/main" id="{6D2D8B98-926F-4CD4-908E-5C3984ED510E}"/>
                  </a:ext>
                </a:extLst>
              </p:cNvPr>
              <p:cNvSpPr/>
              <p:nvPr/>
            </p:nvSpPr>
            <p:spPr>
              <a:xfrm rot="14450951" flipV="1">
                <a:off x="5321278" y="527362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6" name="Oval 445">
                <a:extLst>
                  <a:ext uri="{FF2B5EF4-FFF2-40B4-BE49-F238E27FC236}">
                    <a16:creationId xmlns:a16="http://schemas.microsoft.com/office/drawing/2014/main" id="{B7903B51-BE1A-4EE7-8F81-0E16BDE0F18A}"/>
                  </a:ext>
                </a:extLst>
              </p:cNvPr>
              <p:cNvSpPr/>
              <p:nvPr/>
            </p:nvSpPr>
            <p:spPr>
              <a:xfrm rot="14450951" flipV="1">
                <a:off x="5390334" y="526409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7" name="Oval 446">
                <a:extLst>
                  <a:ext uri="{FF2B5EF4-FFF2-40B4-BE49-F238E27FC236}">
                    <a16:creationId xmlns:a16="http://schemas.microsoft.com/office/drawing/2014/main" id="{CD1EBA5C-BE66-4D94-AE6D-6DAC70592CD7}"/>
                  </a:ext>
                </a:extLst>
              </p:cNvPr>
              <p:cNvSpPr/>
              <p:nvPr/>
            </p:nvSpPr>
            <p:spPr>
              <a:xfrm rot="14450951" flipV="1">
                <a:off x="5459390" y="526884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8" name="Oval 447">
                <a:extLst>
                  <a:ext uri="{FF2B5EF4-FFF2-40B4-BE49-F238E27FC236}">
                    <a16:creationId xmlns:a16="http://schemas.microsoft.com/office/drawing/2014/main" id="{6764C2A3-6AA1-4794-A6A0-01DDFD7048B3}"/>
                  </a:ext>
                </a:extLst>
              </p:cNvPr>
              <p:cNvSpPr/>
              <p:nvPr/>
            </p:nvSpPr>
            <p:spPr>
              <a:xfrm rot="14450951" flipV="1">
                <a:off x="5528446" y="53021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9" name="Oval 448">
                <a:extLst>
                  <a:ext uri="{FF2B5EF4-FFF2-40B4-BE49-F238E27FC236}">
                    <a16:creationId xmlns:a16="http://schemas.microsoft.com/office/drawing/2014/main" id="{F138F259-562B-4BC4-ADF2-08295258E48B}"/>
                  </a:ext>
                </a:extLst>
              </p:cNvPr>
              <p:cNvSpPr/>
              <p:nvPr/>
            </p:nvSpPr>
            <p:spPr>
              <a:xfrm rot="14450951" flipV="1">
                <a:off x="5597502" y="531408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0" name="Oval 449">
                <a:extLst>
                  <a:ext uri="{FF2B5EF4-FFF2-40B4-BE49-F238E27FC236}">
                    <a16:creationId xmlns:a16="http://schemas.microsoft.com/office/drawing/2014/main" id="{0CD39406-C9FF-4F08-9598-022DACEDA665}"/>
                  </a:ext>
                </a:extLst>
              </p:cNvPr>
              <p:cNvSpPr/>
              <p:nvPr/>
            </p:nvSpPr>
            <p:spPr>
              <a:xfrm rot="14450951" flipV="1">
                <a:off x="5666558" y="531406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1" name="Oval 450">
                <a:extLst>
                  <a:ext uri="{FF2B5EF4-FFF2-40B4-BE49-F238E27FC236}">
                    <a16:creationId xmlns:a16="http://schemas.microsoft.com/office/drawing/2014/main" id="{B3F80B4D-1560-44C1-813B-84349F1B04CE}"/>
                  </a:ext>
                </a:extLst>
              </p:cNvPr>
              <p:cNvSpPr/>
              <p:nvPr/>
            </p:nvSpPr>
            <p:spPr>
              <a:xfrm rot="14450951" flipV="1">
                <a:off x="5735614" y="530935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2" name="Oval 451">
                <a:extLst>
                  <a:ext uri="{FF2B5EF4-FFF2-40B4-BE49-F238E27FC236}">
                    <a16:creationId xmlns:a16="http://schemas.microsoft.com/office/drawing/2014/main" id="{861DDA84-22DF-437E-9157-24E7393DD247}"/>
                  </a:ext>
                </a:extLst>
              </p:cNvPr>
              <p:cNvSpPr/>
              <p:nvPr/>
            </p:nvSpPr>
            <p:spPr>
              <a:xfrm rot="14450951" flipV="1">
                <a:off x="5804670" y="5302200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3" name="Oval 452">
                <a:extLst>
                  <a:ext uri="{FF2B5EF4-FFF2-40B4-BE49-F238E27FC236}">
                    <a16:creationId xmlns:a16="http://schemas.microsoft.com/office/drawing/2014/main" id="{35FF494A-9A57-45A5-8102-9FC19C73AFB2}"/>
                  </a:ext>
                </a:extLst>
              </p:cNvPr>
              <p:cNvSpPr/>
              <p:nvPr/>
            </p:nvSpPr>
            <p:spPr>
              <a:xfrm rot="14450951" flipV="1">
                <a:off x="5873730" y="528790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4" name="Oval 453">
                <a:extLst>
                  <a:ext uri="{FF2B5EF4-FFF2-40B4-BE49-F238E27FC236}">
                    <a16:creationId xmlns:a16="http://schemas.microsoft.com/office/drawing/2014/main" id="{4D5624D1-4537-41A5-A0F4-8E771EF2AA96}"/>
                  </a:ext>
                </a:extLst>
              </p:cNvPr>
              <p:cNvSpPr/>
              <p:nvPr/>
            </p:nvSpPr>
            <p:spPr>
              <a:xfrm rot="14450951" flipV="1">
                <a:off x="5937040" y="5279297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5" name="Oval 454">
                <a:extLst>
                  <a:ext uri="{FF2B5EF4-FFF2-40B4-BE49-F238E27FC236}">
                    <a16:creationId xmlns:a16="http://schemas.microsoft.com/office/drawing/2014/main" id="{1B624AF7-1D51-429F-9FC0-D55786F32F1A}"/>
                  </a:ext>
                </a:extLst>
              </p:cNvPr>
              <p:cNvSpPr/>
              <p:nvPr/>
            </p:nvSpPr>
            <p:spPr>
              <a:xfrm rot="14450951" flipV="1">
                <a:off x="6006096" y="52840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6" name="Oval 455">
                <a:extLst>
                  <a:ext uri="{FF2B5EF4-FFF2-40B4-BE49-F238E27FC236}">
                    <a16:creationId xmlns:a16="http://schemas.microsoft.com/office/drawing/2014/main" id="{17215F96-2703-4734-BE5B-31CA9C6D9A79}"/>
                  </a:ext>
                </a:extLst>
              </p:cNvPr>
              <p:cNvSpPr/>
              <p:nvPr/>
            </p:nvSpPr>
            <p:spPr>
              <a:xfrm rot="14450951" flipV="1">
                <a:off x="6075152" y="53078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7" name="Oval 456">
                <a:extLst>
                  <a:ext uri="{FF2B5EF4-FFF2-40B4-BE49-F238E27FC236}">
                    <a16:creationId xmlns:a16="http://schemas.microsoft.com/office/drawing/2014/main" id="{839A650F-EA71-4DE8-BB93-4A4692E393EC}"/>
                  </a:ext>
                </a:extLst>
              </p:cNvPr>
              <p:cNvSpPr/>
              <p:nvPr/>
            </p:nvSpPr>
            <p:spPr>
              <a:xfrm rot="14450951" flipV="1">
                <a:off x="6144208" y="53221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8" name="Oval 457">
                <a:extLst>
                  <a:ext uri="{FF2B5EF4-FFF2-40B4-BE49-F238E27FC236}">
                    <a16:creationId xmlns:a16="http://schemas.microsoft.com/office/drawing/2014/main" id="{AF7E3096-080C-47A2-9BF5-D9DCFDC7A8DE}"/>
                  </a:ext>
                </a:extLst>
              </p:cNvPr>
              <p:cNvSpPr/>
              <p:nvPr/>
            </p:nvSpPr>
            <p:spPr>
              <a:xfrm rot="14450951" flipV="1">
                <a:off x="6213264" y="530782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9" name="Oval 458">
                <a:extLst>
                  <a:ext uri="{FF2B5EF4-FFF2-40B4-BE49-F238E27FC236}">
                    <a16:creationId xmlns:a16="http://schemas.microsoft.com/office/drawing/2014/main" id="{2F183357-73CA-42AF-9251-C59556F193C8}"/>
                  </a:ext>
                </a:extLst>
              </p:cNvPr>
              <p:cNvSpPr/>
              <p:nvPr/>
            </p:nvSpPr>
            <p:spPr>
              <a:xfrm rot="14450951" flipV="1">
                <a:off x="6282320" y="528882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0" name="Oval 459">
                <a:extLst>
                  <a:ext uri="{FF2B5EF4-FFF2-40B4-BE49-F238E27FC236}">
                    <a16:creationId xmlns:a16="http://schemas.microsoft.com/office/drawing/2014/main" id="{FCEF056F-08E1-4C8F-B680-639B479883C5}"/>
                  </a:ext>
                </a:extLst>
              </p:cNvPr>
              <p:cNvSpPr/>
              <p:nvPr/>
            </p:nvSpPr>
            <p:spPr>
              <a:xfrm rot="14450951" flipV="1">
                <a:off x="6351376" y="527452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1" name="Oval 460">
                <a:extLst>
                  <a:ext uri="{FF2B5EF4-FFF2-40B4-BE49-F238E27FC236}">
                    <a16:creationId xmlns:a16="http://schemas.microsoft.com/office/drawing/2014/main" id="{EF6B3B2C-1ED6-4A6B-898A-0B426758668A}"/>
                  </a:ext>
                </a:extLst>
              </p:cNvPr>
              <p:cNvSpPr/>
              <p:nvPr/>
            </p:nvSpPr>
            <p:spPr>
              <a:xfrm rot="14450951" flipV="1">
                <a:off x="6420432" y="5264984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2" name="Oval 461">
                <a:extLst>
                  <a:ext uri="{FF2B5EF4-FFF2-40B4-BE49-F238E27FC236}">
                    <a16:creationId xmlns:a16="http://schemas.microsoft.com/office/drawing/2014/main" id="{909DEF2D-2983-49F1-B6EA-7DDF662A6B3D}"/>
                  </a:ext>
                </a:extLst>
              </p:cNvPr>
              <p:cNvSpPr/>
              <p:nvPr/>
            </p:nvSpPr>
            <p:spPr>
              <a:xfrm rot="14450951" flipV="1">
                <a:off x="6489488" y="526973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3" name="Oval 462">
                <a:extLst>
                  <a:ext uri="{FF2B5EF4-FFF2-40B4-BE49-F238E27FC236}">
                    <a16:creationId xmlns:a16="http://schemas.microsoft.com/office/drawing/2014/main" id="{246FF05F-7FD0-4497-ADF2-32B467DBAED1}"/>
                  </a:ext>
                </a:extLst>
              </p:cNvPr>
              <p:cNvSpPr/>
              <p:nvPr/>
            </p:nvSpPr>
            <p:spPr>
              <a:xfrm rot="14450951" flipV="1">
                <a:off x="6558544" y="53030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4" name="Oval 463">
                <a:extLst>
                  <a:ext uri="{FF2B5EF4-FFF2-40B4-BE49-F238E27FC236}">
                    <a16:creationId xmlns:a16="http://schemas.microsoft.com/office/drawing/2014/main" id="{3E912417-416A-4B39-8A4F-C7D57E52F26C}"/>
                  </a:ext>
                </a:extLst>
              </p:cNvPr>
              <p:cNvSpPr/>
              <p:nvPr/>
            </p:nvSpPr>
            <p:spPr>
              <a:xfrm rot="14450951" flipV="1">
                <a:off x="6627600" y="5314976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5" name="Oval 464">
                <a:extLst>
                  <a:ext uri="{FF2B5EF4-FFF2-40B4-BE49-F238E27FC236}">
                    <a16:creationId xmlns:a16="http://schemas.microsoft.com/office/drawing/2014/main" id="{1D82908D-EAA1-4E69-B6BA-6F6F472E6501}"/>
                  </a:ext>
                </a:extLst>
              </p:cNvPr>
              <p:cNvSpPr/>
              <p:nvPr/>
            </p:nvSpPr>
            <p:spPr>
              <a:xfrm rot="14450951" flipV="1">
                <a:off x="6696656" y="531496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6" name="Oval 465">
                <a:extLst>
                  <a:ext uri="{FF2B5EF4-FFF2-40B4-BE49-F238E27FC236}">
                    <a16:creationId xmlns:a16="http://schemas.microsoft.com/office/drawing/2014/main" id="{A8E41B71-2010-42A7-A0AE-77A82F42A89A}"/>
                  </a:ext>
                </a:extLst>
              </p:cNvPr>
              <p:cNvSpPr/>
              <p:nvPr/>
            </p:nvSpPr>
            <p:spPr>
              <a:xfrm rot="14450951" flipV="1">
                <a:off x="6765712" y="5310248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7" name="Oval 466">
                <a:extLst>
                  <a:ext uri="{FF2B5EF4-FFF2-40B4-BE49-F238E27FC236}">
                    <a16:creationId xmlns:a16="http://schemas.microsoft.com/office/drawing/2014/main" id="{8043D58E-FB21-4801-957C-D54134ABB472}"/>
                  </a:ext>
                </a:extLst>
              </p:cNvPr>
              <p:cNvSpPr/>
              <p:nvPr/>
            </p:nvSpPr>
            <p:spPr>
              <a:xfrm rot="14450951" flipV="1">
                <a:off x="6834768" y="53030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8" name="Oval 467">
                <a:extLst>
                  <a:ext uri="{FF2B5EF4-FFF2-40B4-BE49-F238E27FC236}">
                    <a16:creationId xmlns:a16="http://schemas.microsoft.com/office/drawing/2014/main" id="{1E69B60C-236F-4527-9905-51239898EBEA}"/>
                  </a:ext>
                </a:extLst>
              </p:cNvPr>
              <p:cNvSpPr/>
              <p:nvPr/>
            </p:nvSpPr>
            <p:spPr>
              <a:xfrm rot="14450951" flipV="1">
                <a:off x="6903828" y="528879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9" name="Oval 468">
                <a:extLst>
                  <a:ext uri="{FF2B5EF4-FFF2-40B4-BE49-F238E27FC236}">
                    <a16:creationId xmlns:a16="http://schemas.microsoft.com/office/drawing/2014/main" id="{D7E44793-7B73-41A4-B76F-5EB2A89B7E45}"/>
                  </a:ext>
                </a:extLst>
              </p:cNvPr>
              <p:cNvSpPr/>
              <p:nvPr/>
            </p:nvSpPr>
            <p:spPr>
              <a:xfrm rot="14450951" flipV="1">
                <a:off x="6976556" y="5273801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0" name="Oval 469">
                <a:extLst>
                  <a:ext uri="{FF2B5EF4-FFF2-40B4-BE49-F238E27FC236}">
                    <a16:creationId xmlns:a16="http://schemas.microsoft.com/office/drawing/2014/main" id="{78E4EE48-D75E-4862-8F41-BACBBCCAB308}"/>
                  </a:ext>
                </a:extLst>
              </p:cNvPr>
              <p:cNvSpPr/>
              <p:nvPr/>
            </p:nvSpPr>
            <p:spPr>
              <a:xfrm rot="14450951" flipV="1">
                <a:off x="7045612" y="5278552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1" name="Oval 470">
                <a:extLst>
                  <a:ext uri="{FF2B5EF4-FFF2-40B4-BE49-F238E27FC236}">
                    <a16:creationId xmlns:a16="http://schemas.microsoft.com/office/drawing/2014/main" id="{AA0D9FEA-86A7-4E4C-A894-9966B21A57C2}"/>
                  </a:ext>
                </a:extLst>
              </p:cNvPr>
              <p:cNvSpPr/>
              <p:nvPr/>
            </p:nvSpPr>
            <p:spPr>
              <a:xfrm rot="14450951" flipV="1">
                <a:off x="7114668" y="53118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2" name="Oval 471">
                <a:extLst>
                  <a:ext uri="{FF2B5EF4-FFF2-40B4-BE49-F238E27FC236}">
                    <a16:creationId xmlns:a16="http://schemas.microsoft.com/office/drawing/2014/main" id="{539178B2-643F-4D2E-BF98-AE0FE0983591}"/>
                  </a:ext>
                </a:extLst>
              </p:cNvPr>
              <p:cNvSpPr/>
              <p:nvPr/>
            </p:nvSpPr>
            <p:spPr>
              <a:xfrm rot="14450951" flipV="1">
                <a:off x="7183724" y="5323793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3" name="Oval 472">
                <a:extLst>
                  <a:ext uri="{FF2B5EF4-FFF2-40B4-BE49-F238E27FC236}">
                    <a16:creationId xmlns:a16="http://schemas.microsoft.com/office/drawing/2014/main" id="{41A2547B-994B-4E89-B89A-03D65CCC3331}"/>
                  </a:ext>
                </a:extLst>
              </p:cNvPr>
              <p:cNvSpPr/>
              <p:nvPr/>
            </p:nvSpPr>
            <p:spPr>
              <a:xfrm rot="14450951" flipV="1">
                <a:off x="7252780" y="532377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4" name="Oval 473">
                <a:extLst>
                  <a:ext uri="{FF2B5EF4-FFF2-40B4-BE49-F238E27FC236}">
                    <a16:creationId xmlns:a16="http://schemas.microsoft.com/office/drawing/2014/main" id="{35BEE2D7-60D9-4D55-82BE-E501EEAA9AA7}"/>
                  </a:ext>
                </a:extLst>
              </p:cNvPr>
              <p:cNvSpPr/>
              <p:nvPr/>
            </p:nvSpPr>
            <p:spPr>
              <a:xfrm rot="14450951" flipV="1">
                <a:off x="7321836" y="5319065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5029BC2C-77E9-43B1-9370-89F6DE0E98C2}"/>
                  </a:ext>
                </a:extLst>
              </p:cNvPr>
              <p:cNvSpPr/>
              <p:nvPr/>
            </p:nvSpPr>
            <p:spPr>
              <a:xfrm>
                <a:off x="2864645" y="5275299"/>
                <a:ext cx="4567236" cy="70610"/>
              </a:xfrm>
              <a:custGeom>
                <a:avLst/>
                <a:gdLst>
                  <a:gd name="connsiteX0" fmla="*/ 2024948 w 2024948"/>
                  <a:gd name="connsiteY0" fmla="*/ 97592 h 140457"/>
                  <a:gd name="connsiteX1" fmla="*/ 1934461 w 2024948"/>
                  <a:gd name="connsiteY1" fmla="*/ 133311 h 140457"/>
                  <a:gd name="connsiteX2" fmla="*/ 1805873 w 2024948"/>
                  <a:gd name="connsiteY2" fmla="*/ 138073 h 140457"/>
                  <a:gd name="connsiteX3" fmla="*/ 1665380 w 2024948"/>
                  <a:gd name="connsiteY3" fmla="*/ 104736 h 140457"/>
                  <a:gd name="connsiteX4" fmla="*/ 1601086 w 2024948"/>
                  <a:gd name="connsiteY4" fmla="*/ 85686 h 140457"/>
                  <a:gd name="connsiteX5" fmla="*/ 1377248 w 2024948"/>
                  <a:gd name="connsiteY5" fmla="*/ 130929 h 140457"/>
                  <a:gd name="connsiteX6" fmla="*/ 1167698 w 2024948"/>
                  <a:gd name="connsiteY6" fmla="*/ 119023 h 140457"/>
                  <a:gd name="connsiteX7" fmla="*/ 1103405 w 2024948"/>
                  <a:gd name="connsiteY7" fmla="*/ 88067 h 140457"/>
                  <a:gd name="connsiteX8" fmla="*/ 962911 w 2024948"/>
                  <a:gd name="connsiteY8" fmla="*/ 97592 h 140457"/>
                  <a:gd name="connsiteX9" fmla="*/ 760505 w 2024948"/>
                  <a:gd name="connsiteY9" fmla="*/ 140454 h 140457"/>
                  <a:gd name="connsiteX10" fmla="*/ 627155 w 2024948"/>
                  <a:gd name="connsiteY10" fmla="*/ 95211 h 140457"/>
                  <a:gd name="connsiteX11" fmla="*/ 496186 w 2024948"/>
                  <a:gd name="connsiteY11" fmla="*/ 104736 h 140457"/>
                  <a:gd name="connsiteX12" fmla="*/ 284255 w 2024948"/>
                  <a:gd name="connsiteY12" fmla="*/ 133311 h 140457"/>
                  <a:gd name="connsiteX13" fmla="*/ 143761 w 2024948"/>
                  <a:gd name="connsiteY13" fmla="*/ 121404 h 140457"/>
                  <a:gd name="connsiteX14" fmla="*/ 74705 w 2024948"/>
                  <a:gd name="connsiteY14" fmla="*/ 85686 h 140457"/>
                  <a:gd name="connsiteX0" fmla="*/ 4577706 w 4577706"/>
                  <a:gd name="connsiteY0" fmla="*/ 91825 h 134690"/>
                  <a:gd name="connsiteX1" fmla="*/ 4487219 w 4577706"/>
                  <a:gd name="connsiteY1" fmla="*/ 127544 h 134690"/>
                  <a:gd name="connsiteX2" fmla="*/ 4358631 w 4577706"/>
                  <a:gd name="connsiteY2" fmla="*/ 132306 h 134690"/>
                  <a:gd name="connsiteX3" fmla="*/ 4218138 w 4577706"/>
                  <a:gd name="connsiteY3" fmla="*/ 98969 h 134690"/>
                  <a:gd name="connsiteX4" fmla="*/ 4153844 w 4577706"/>
                  <a:gd name="connsiteY4" fmla="*/ 79919 h 134690"/>
                  <a:gd name="connsiteX5" fmla="*/ 3930006 w 4577706"/>
                  <a:gd name="connsiteY5" fmla="*/ 125162 h 134690"/>
                  <a:gd name="connsiteX6" fmla="*/ 3720456 w 4577706"/>
                  <a:gd name="connsiteY6" fmla="*/ 113256 h 134690"/>
                  <a:gd name="connsiteX7" fmla="*/ 3656163 w 4577706"/>
                  <a:gd name="connsiteY7" fmla="*/ 82300 h 134690"/>
                  <a:gd name="connsiteX8" fmla="*/ 3515669 w 4577706"/>
                  <a:gd name="connsiteY8" fmla="*/ 91825 h 134690"/>
                  <a:gd name="connsiteX9" fmla="*/ 3313263 w 4577706"/>
                  <a:gd name="connsiteY9" fmla="*/ 134687 h 134690"/>
                  <a:gd name="connsiteX10" fmla="*/ 3179913 w 4577706"/>
                  <a:gd name="connsiteY10" fmla="*/ 89444 h 134690"/>
                  <a:gd name="connsiteX11" fmla="*/ 3048944 w 4577706"/>
                  <a:gd name="connsiteY11" fmla="*/ 98969 h 134690"/>
                  <a:gd name="connsiteX12" fmla="*/ 2837013 w 4577706"/>
                  <a:gd name="connsiteY12" fmla="*/ 127544 h 134690"/>
                  <a:gd name="connsiteX13" fmla="*/ 2696519 w 4577706"/>
                  <a:gd name="connsiteY13" fmla="*/ 115637 h 134690"/>
                  <a:gd name="connsiteX14" fmla="*/ 10470 w 4577706"/>
                  <a:gd name="connsiteY14" fmla="*/ 87063 h 134690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36030 w 4567236"/>
                  <a:gd name="connsiteY14" fmla="*/ 29367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0 w 4567236"/>
                  <a:gd name="connsiteY15" fmla="*/ 7937 h 55564"/>
                  <a:gd name="connsiteX0" fmla="*/ 4567236 w 4567236"/>
                  <a:gd name="connsiteY0" fmla="*/ 14837 h 57702"/>
                  <a:gd name="connsiteX1" fmla="*/ 4476749 w 4567236"/>
                  <a:gd name="connsiteY1" fmla="*/ 50556 h 57702"/>
                  <a:gd name="connsiteX2" fmla="*/ 4348161 w 4567236"/>
                  <a:gd name="connsiteY2" fmla="*/ 55318 h 57702"/>
                  <a:gd name="connsiteX3" fmla="*/ 4207668 w 4567236"/>
                  <a:gd name="connsiteY3" fmla="*/ 21981 h 57702"/>
                  <a:gd name="connsiteX4" fmla="*/ 4143374 w 4567236"/>
                  <a:gd name="connsiteY4" fmla="*/ 2931 h 57702"/>
                  <a:gd name="connsiteX5" fmla="*/ 3919536 w 4567236"/>
                  <a:gd name="connsiteY5" fmla="*/ 48174 h 57702"/>
                  <a:gd name="connsiteX6" fmla="*/ 3709986 w 4567236"/>
                  <a:gd name="connsiteY6" fmla="*/ 36268 h 57702"/>
                  <a:gd name="connsiteX7" fmla="*/ 3645693 w 4567236"/>
                  <a:gd name="connsiteY7" fmla="*/ 5312 h 57702"/>
                  <a:gd name="connsiteX8" fmla="*/ 3505199 w 4567236"/>
                  <a:gd name="connsiteY8" fmla="*/ 14837 h 57702"/>
                  <a:gd name="connsiteX9" fmla="*/ 3302793 w 4567236"/>
                  <a:gd name="connsiteY9" fmla="*/ 57699 h 57702"/>
                  <a:gd name="connsiteX10" fmla="*/ 3169443 w 4567236"/>
                  <a:gd name="connsiteY10" fmla="*/ 12456 h 57702"/>
                  <a:gd name="connsiteX11" fmla="*/ 3038474 w 4567236"/>
                  <a:gd name="connsiteY11" fmla="*/ 21981 h 57702"/>
                  <a:gd name="connsiteX12" fmla="*/ 2826543 w 4567236"/>
                  <a:gd name="connsiteY12" fmla="*/ 50556 h 57702"/>
                  <a:gd name="connsiteX13" fmla="*/ 2686049 w 4567236"/>
                  <a:gd name="connsiteY13" fmla="*/ 38649 h 57702"/>
                  <a:gd name="connsiteX14" fmla="*/ 2545555 w 4567236"/>
                  <a:gd name="connsiteY14" fmla="*/ 2930 h 57702"/>
                  <a:gd name="connsiteX15" fmla="*/ 2283618 w 4567236"/>
                  <a:gd name="connsiteY15" fmla="*/ 2930 h 57702"/>
                  <a:gd name="connsiteX16" fmla="*/ 0 w 4567236"/>
                  <a:gd name="connsiteY16" fmla="*/ 10075 h 57702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86049 w 4567236"/>
                  <a:gd name="connsiteY13" fmla="*/ 36511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0 w 4567236"/>
                  <a:gd name="connsiteY16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28824 w 4567236"/>
                  <a:gd name="connsiteY16" fmla="*/ 36510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0 w 4567236"/>
                  <a:gd name="connsiteY17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802605 w 4567236"/>
                  <a:gd name="connsiteY17" fmla="*/ 1031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0 w 4567236"/>
                  <a:gd name="connsiteY18" fmla="*/ 7937 h 55564"/>
                  <a:gd name="connsiteX0" fmla="*/ 4567236 w 4567236"/>
                  <a:gd name="connsiteY0" fmla="*/ 12699 h 55564"/>
                  <a:gd name="connsiteX1" fmla="*/ 4476749 w 4567236"/>
                  <a:gd name="connsiteY1" fmla="*/ 48418 h 55564"/>
                  <a:gd name="connsiteX2" fmla="*/ 4348161 w 4567236"/>
                  <a:gd name="connsiteY2" fmla="*/ 53180 h 55564"/>
                  <a:gd name="connsiteX3" fmla="*/ 4207668 w 4567236"/>
                  <a:gd name="connsiteY3" fmla="*/ 19843 h 55564"/>
                  <a:gd name="connsiteX4" fmla="*/ 4143374 w 4567236"/>
                  <a:gd name="connsiteY4" fmla="*/ 793 h 55564"/>
                  <a:gd name="connsiteX5" fmla="*/ 3919536 w 4567236"/>
                  <a:gd name="connsiteY5" fmla="*/ 46036 h 55564"/>
                  <a:gd name="connsiteX6" fmla="*/ 3709986 w 4567236"/>
                  <a:gd name="connsiteY6" fmla="*/ 34130 h 55564"/>
                  <a:gd name="connsiteX7" fmla="*/ 3645693 w 4567236"/>
                  <a:gd name="connsiteY7" fmla="*/ 3174 h 55564"/>
                  <a:gd name="connsiteX8" fmla="*/ 3505199 w 4567236"/>
                  <a:gd name="connsiteY8" fmla="*/ 12699 h 55564"/>
                  <a:gd name="connsiteX9" fmla="*/ 3302793 w 4567236"/>
                  <a:gd name="connsiteY9" fmla="*/ 55561 h 55564"/>
                  <a:gd name="connsiteX10" fmla="*/ 3169443 w 4567236"/>
                  <a:gd name="connsiteY10" fmla="*/ 10318 h 55564"/>
                  <a:gd name="connsiteX11" fmla="*/ 3038474 w 4567236"/>
                  <a:gd name="connsiteY11" fmla="*/ 19843 h 55564"/>
                  <a:gd name="connsiteX12" fmla="*/ 2826543 w 4567236"/>
                  <a:gd name="connsiteY12" fmla="*/ 48418 h 55564"/>
                  <a:gd name="connsiteX13" fmla="*/ 2678905 w 4567236"/>
                  <a:gd name="connsiteY13" fmla="*/ 31748 h 55564"/>
                  <a:gd name="connsiteX14" fmla="*/ 2545555 w 4567236"/>
                  <a:gd name="connsiteY14" fmla="*/ 792 h 55564"/>
                  <a:gd name="connsiteX15" fmla="*/ 2271711 w 4567236"/>
                  <a:gd name="connsiteY15" fmla="*/ 53180 h 55564"/>
                  <a:gd name="connsiteX16" fmla="*/ 2083592 w 4567236"/>
                  <a:gd name="connsiteY16" fmla="*/ 10317 h 55564"/>
                  <a:gd name="connsiteX17" fmla="*/ 1797842 w 4567236"/>
                  <a:gd name="connsiteY17" fmla="*/ 29367 h 55564"/>
                  <a:gd name="connsiteX18" fmla="*/ 1512093 w 4567236"/>
                  <a:gd name="connsiteY18" fmla="*/ 26985 h 55564"/>
                  <a:gd name="connsiteX19" fmla="*/ 0 w 4567236"/>
                  <a:gd name="connsiteY19" fmla="*/ 7937 h 55564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6196 h 69061"/>
                  <a:gd name="connsiteX1" fmla="*/ 4476749 w 4567236"/>
                  <a:gd name="connsiteY1" fmla="*/ 61915 h 69061"/>
                  <a:gd name="connsiteX2" fmla="*/ 4348161 w 4567236"/>
                  <a:gd name="connsiteY2" fmla="*/ 66677 h 69061"/>
                  <a:gd name="connsiteX3" fmla="*/ 4207668 w 4567236"/>
                  <a:gd name="connsiteY3" fmla="*/ 33340 h 69061"/>
                  <a:gd name="connsiteX4" fmla="*/ 4143374 w 4567236"/>
                  <a:gd name="connsiteY4" fmla="*/ 14290 h 69061"/>
                  <a:gd name="connsiteX5" fmla="*/ 3919536 w 4567236"/>
                  <a:gd name="connsiteY5" fmla="*/ 59533 h 69061"/>
                  <a:gd name="connsiteX6" fmla="*/ 3709986 w 4567236"/>
                  <a:gd name="connsiteY6" fmla="*/ 47627 h 69061"/>
                  <a:gd name="connsiteX7" fmla="*/ 3645693 w 4567236"/>
                  <a:gd name="connsiteY7" fmla="*/ 16671 h 69061"/>
                  <a:gd name="connsiteX8" fmla="*/ 3505199 w 4567236"/>
                  <a:gd name="connsiteY8" fmla="*/ 26196 h 69061"/>
                  <a:gd name="connsiteX9" fmla="*/ 3302793 w 4567236"/>
                  <a:gd name="connsiteY9" fmla="*/ 69058 h 69061"/>
                  <a:gd name="connsiteX10" fmla="*/ 3169443 w 4567236"/>
                  <a:gd name="connsiteY10" fmla="*/ 23815 h 69061"/>
                  <a:gd name="connsiteX11" fmla="*/ 3038474 w 4567236"/>
                  <a:gd name="connsiteY11" fmla="*/ 33340 h 69061"/>
                  <a:gd name="connsiteX12" fmla="*/ 2826543 w 4567236"/>
                  <a:gd name="connsiteY12" fmla="*/ 61915 h 69061"/>
                  <a:gd name="connsiteX13" fmla="*/ 2678905 w 4567236"/>
                  <a:gd name="connsiteY13" fmla="*/ 45245 h 69061"/>
                  <a:gd name="connsiteX14" fmla="*/ 2545555 w 4567236"/>
                  <a:gd name="connsiteY14" fmla="*/ 14289 h 69061"/>
                  <a:gd name="connsiteX15" fmla="*/ 2271711 w 4567236"/>
                  <a:gd name="connsiteY15" fmla="*/ 66677 h 69061"/>
                  <a:gd name="connsiteX16" fmla="*/ 2083592 w 4567236"/>
                  <a:gd name="connsiteY16" fmla="*/ 23814 h 69061"/>
                  <a:gd name="connsiteX17" fmla="*/ 1797842 w 4567236"/>
                  <a:gd name="connsiteY17" fmla="*/ 42864 h 69061"/>
                  <a:gd name="connsiteX18" fmla="*/ 1583531 w 4567236"/>
                  <a:gd name="connsiteY18" fmla="*/ 0 h 69061"/>
                  <a:gd name="connsiteX19" fmla="*/ 0 w 4567236"/>
                  <a:gd name="connsiteY19" fmla="*/ 21434 h 69061"/>
                  <a:gd name="connsiteX0" fmla="*/ 4567236 w 4567236"/>
                  <a:gd name="connsiteY0" fmla="*/ 29254 h 72119"/>
                  <a:gd name="connsiteX1" fmla="*/ 4476749 w 4567236"/>
                  <a:gd name="connsiteY1" fmla="*/ 64973 h 72119"/>
                  <a:gd name="connsiteX2" fmla="*/ 4348161 w 4567236"/>
                  <a:gd name="connsiteY2" fmla="*/ 69735 h 72119"/>
                  <a:gd name="connsiteX3" fmla="*/ 4207668 w 4567236"/>
                  <a:gd name="connsiteY3" fmla="*/ 36398 h 72119"/>
                  <a:gd name="connsiteX4" fmla="*/ 4143374 w 4567236"/>
                  <a:gd name="connsiteY4" fmla="*/ 17348 h 72119"/>
                  <a:gd name="connsiteX5" fmla="*/ 3919536 w 4567236"/>
                  <a:gd name="connsiteY5" fmla="*/ 62591 h 72119"/>
                  <a:gd name="connsiteX6" fmla="*/ 3709986 w 4567236"/>
                  <a:gd name="connsiteY6" fmla="*/ 50685 h 72119"/>
                  <a:gd name="connsiteX7" fmla="*/ 3645693 w 4567236"/>
                  <a:gd name="connsiteY7" fmla="*/ 19729 h 72119"/>
                  <a:gd name="connsiteX8" fmla="*/ 3505199 w 4567236"/>
                  <a:gd name="connsiteY8" fmla="*/ 29254 h 72119"/>
                  <a:gd name="connsiteX9" fmla="*/ 3302793 w 4567236"/>
                  <a:gd name="connsiteY9" fmla="*/ 72116 h 72119"/>
                  <a:gd name="connsiteX10" fmla="*/ 3169443 w 4567236"/>
                  <a:gd name="connsiteY10" fmla="*/ 26873 h 72119"/>
                  <a:gd name="connsiteX11" fmla="*/ 3038474 w 4567236"/>
                  <a:gd name="connsiteY11" fmla="*/ 36398 h 72119"/>
                  <a:gd name="connsiteX12" fmla="*/ 2826543 w 4567236"/>
                  <a:gd name="connsiteY12" fmla="*/ 64973 h 72119"/>
                  <a:gd name="connsiteX13" fmla="*/ 2678905 w 4567236"/>
                  <a:gd name="connsiteY13" fmla="*/ 48303 h 72119"/>
                  <a:gd name="connsiteX14" fmla="*/ 2545555 w 4567236"/>
                  <a:gd name="connsiteY14" fmla="*/ 17347 h 72119"/>
                  <a:gd name="connsiteX15" fmla="*/ 2271711 w 4567236"/>
                  <a:gd name="connsiteY15" fmla="*/ 69735 h 72119"/>
                  <a:gd name="connsiteX16" fmla="*/ 2083592 w 4567236"/>
                  <a:gd name="connsiteY16" fmla="*/ 26872 h 72119"/>
                  <a:gd name="connsiteX17" fmla="*/ 1797842 w 4567236"/>
                  <a:gd name="connsiteY17" fmla="*/ 45922 h 72119"/>
                  <a:gd name="connsiteX18" fmla="*/ 1583531 w 4567236"/>
                  <a:gd name="connsiteY18" fmla="*/ 3058 h 72119"/>
                  <a:gd name="connsiteX19" fmla="*/ 0 w 4567236"/>
                  <a:gd name="connsiteY19" fmla="*/ 24492 h 72119"/>
                  <a:gd name="connsiteX0" fmla="*/ 4567236 w 4567236"/>
                  <a:gd name="connsiteY0" fmla="*/ 31557 h 74422"/>
                  <a:gd name="connsiteX1" fmla="*/ 4476749 w 4567236"/>
                  <a:gd name="connsiteY1" fmla="*/ 67276 h 74422"/>
                  <a:gd name="connsiteX2" fmla="*/ 4348161 w 4567236"/>
                  <a:gd name="connsiteY2" fmla="*/ 72038 h 74422"/>
                  <a:gd name="connsiteX3" fmla="*/ 4207668 w 4567236"/>
                  <a:gd name="connsiteY3" fmla="*/ 38701 h 74422"/>
                  <a:gd name="connsiteX4" fmla="*/ 4143374 w 4567236"/>
                  <a:gd name="connsiteY4" fmla="*/ 19651 h 74422"/>
                  <a:gd name="connsiteX5" fmla="*/ 3919536 w 4567236"/>
                  <a:gd name="connsiteY5" fmla="*/ 64894 h 74422"/>
                  <a:gd name="connsiteX6" fmla="*/ 3709986 w 4567236"/>
                  <a:gd name="connsiteY6" fmla="*/ 52988 h 74422"/>
                  <a:gd name="connsiteX7" fmla="*/ 3645693 w 4567236"/>
                  <a:gd name="connsiteY7" fmla="*/ 22032 h 74422"/>
                  <a:gd name="connsiteX8" fmla="*/ 3505199 w 4567236"/>
                  <a:gd name="connsiteY8" fmla="*/ 31557 h 74422"/>
                  <a:gd name="connsiteX9" fmla="*/ 3302793 w 4567236"/>
                  <a:gd name="connsiteY9" fmla="*/ 74419 h 74422"/>
                  <a:gd name="connsiteX10" fmla="*/ 3169443 w 4567236"/>
                  <a:gd name="connsiteY10" fmla="*/ 29176 h 74422"/>
                  <a:gd name="connsiteX11" fmla="*/ 3038474 w 4567236"/>
                  <a:gd name="connsiteY11" fmla="*/ 38701 h 74422"/>
                  <a:gd name="connsiteX12" fmla="*/ 2826543 w 4567236"/>
                  <a:gd name="connsiteY12" fmla="*/ 67276 h 74422"/>
                  <a:gd name="connsiteX13" fmla="*/ 2678905 w 4567236"/>
                  <a:gd name="connsiteY13" fmla="*/ 50606 h 74422"/>
                  <a:gd name="connsiteX14" fmla="*/ 2545555 w 4567236"/>
                  <a:gd name="connsiteY14" fmla="*/ 19650 h 74422"/>
                  <a:gd name="connsiteX15" fmla="*/ 2271711 w 4567236"/>
                  <a:gd name="connsiteY15" fmla="*/ 72038 h 74422"/>
                  <a:gd name="connsiteX16" fmla="*/ 2083592 w 4567236"/>
                  <a:gd name="connsiteY16" fmla="*/ 29175 h 74422"/>
                  <a:gd name="connsiteX17" fmla="*/ 1797842 w 4567236"/>
                  <a:gd name="connsiteY17" fmla="*/ 48225 h 74422"/>
                  <a:gd name="connsiteX18" fmla="*/ 1583531 w 4567236"/>
                  <a:gd name="connsiteY18" fmla="*/ 5361 h 74422"/>
                  <a:gd name="connsiteX19" fmla="*/ 1262061 w 4567236"/>
                  <a:gd name="connsiteY19" fmla="*/ 2982 h 74422"/>
                  <a:gd name="connsiteX20" fmla="*/ 0 w 4567236"/>
                  <a:gd name="connsiteY20" fmla="*/ 26795 h 74422"/>
                  <a:gd name="connsiteX0" fmla="*/ 4567236 w 4567236"/>
                  <a:gd name="connsiteY0" fmla="*/ 26948 h 69813"/>
                  <a:gd name="connsiteX1" fmla="*/ 4476749 w 4567236"/>
                  <a:gd name="connsiteY1" fmla="*/ 62667 h 69813"/>
                  <a:gd name="connsiteX2" fmla="*/ 4348161 w 4567236"/>
                  <a:gd name="connsiteY2" fmla="*/ 67429 h 69813"/>
                  <a:gd name="connsiteX3" fmla="*/ 4207668 w 4567236"/>
                  <a:gd name="connsiteY3" fmla="*/ 34092 h 69813"/>
                  <a:gd name="connsiteX4" fmla="*/ 4143374 w 4567236"/>
                  <a:gd name="connsiteY4" fmla="*/ 15042 h 69813"/>
                  <a:gd name="connsiteX5" fmla="*/ 3919536 w 4567236"/>
                  <a:gd name="connsiteY5" fmla="*/ 60285 h 69813"/>
                  <a:gd name="connsiteX6" fmla="*/ 3709986 w 4567236"/>
                  <a:gd name="connsiteY6" fmla="*/ 48379 h 69813"/>
                  <a:gd name="connsiteX7" fmla="*/ 3645693 w 4567236"/>
                  <a:gd name="connsiteY7" fmla="*/ 17423 h 69813"/>
                  <a:gd name="connsiteX8" fmla="*/ 3505199 w 4567236"/>
                  <a:gd name="connsiteY8" fmla="*/ 26948 h 69813"/>
                  <a:gd name="connsiteX9" fmla="*/ 3302793 w 4567236"/>
                  <a:gd name="connsiteY9" fmla="*/ 69810 h 69813"/>
                  <a:gd name="connsiteX10" fmla="*/ 3169443 w 4567236"/>
                  <a:gd name="connsiteY10" fmla="*/ 24567 h 69813"/>
                  <a:gd name="connsiteX11" fmla="*/ 3038474 w 4567236"/>
                  <a:gd name="connsiteY11" fmla="*/ 34092 h 69813"/>
                  <a:gd name="connsiteX12" fmla="*/ 2826543 w 4567236"/>
                  <a:gd name="connsiteY12" fmla="*/ 62667 h 69813"/>
                  <a:gd name="connsiteX13" fmla="*/ 2678905 w 4567236"/>
                  <a:gd name="connsiteY13" fmla="*/ 45997 h 69813"/>
                  <a:gd name="connsiteX14" fmla="*/ 2545555 w 4567236"/>
                  <a:gd name="connsiteY14" fmla="*/ 15041 h 69813"/>
                  <a:gd name="connsiteX15" fmla="*/ 2271711 w 4567236"/>
                  <a:gd name="connsiteY15" fmla="*/ 67429 h 69813"/>
                  <a:gd name="connsiteX16" fmla="*/ 2083592 w 4567236"/>
                  <a:gd name="connsiteY16" fmla="*/ 24566 h 69813"/>
                  <a:gd name="connsiteX17" fmla="*/ 1797842 w 4567236"/>
                  <a:gd name="connsiteY17" fmla="*/ 43616 h 69813"/>
                  <a:gd name="connsiteX18" fmla="*/ 1583531 w 4567236"/>
                  <a:gd name="connsiteY18" fmla="*/ 752 h 69813"/>
                  <a:gd name="connsiteX19" fmla="*/ 1264442 w 4567236"/>
                  <a:gd name="connsiteY19" fmla="*/ 48379 h 69813"/>
                  <a:gd name="connsiteX20" fmla="*/ 0 w 4567236"/>
                  <a:gd name="connsiteY20" fmla="*/ 22186 h 69813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0 w 4567236"/>
                  <a:gd name="connsiteY20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04886 w 4567236"/>
                  <a:gd name="connsiteY20" fmla="*/ 34889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0 w 4567236"/>
                  <a:gd name="connsiteY21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81061 w 4567236"/>
                  <a:gd name="connsiteY21" fmla="*/ 20601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0 w 4567236"/>
                  <a:gd name="connsiteY22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9593 w 4567236"/>
                  <a:gd name="connsiteY22" fmla="*/ 51557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0 w 4567236"/>
                  <a:gd name="connsiteY23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7180 w 4567236"/>
                  <a:gd name="connsiteY23" fmla="*/ 18220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0 w 4567236"/>
                  <a:gd name="connsiteY24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61924 w 4567236"/>
                  <a:gd name="connsiteY24" fmla="*/ 25364 h 70610"/>
                  <a:gd name="connsiteX25" fmla="*/ 0 w 4567236"/>
                  <a:gd name="connsiteY25" fmla="*/ 22983 h 70610"/>
                  <a:gd name="connsiteX0" fmla="*/ 4567236 w 4567236"/>
                  <a:gd name="connsiteY0" fmla="*/ 27745 h 70610"/>
                  <a:gd name="connsiteX1" fmla="*/ 4476749 w 4567236"/>
                  <a:gd name="connsiteY1" fmla="*/ 63464 h 70610"/>
                  <a:gd name="connsiteX2" fmla="*/ 4348161 w 4567236"/>
                  <a:gd name="connsiteY2" fmla="*/ 68226 h 70610"/>
                  <a:gd name="connsiteX3" fmla="*/ 4207668 w 4567236"/>
                  <a:gd name="connsiteY3" fmla="*/ 34889 h 70610"/>
                  <a:gd name="connsiteX4" fmla="*/ 4143374 w 4567236"/>
                  <a:gd name="connsiteY4" fmla="*/ 15839 h 70610"/>
                  <a:gd name="connsiteX5" fmla="*/ 3919536 w 4567236"/>
                  <a:gd name="connsiteY5" fmla="*/ 61082 h 70610"/>
                  <a:gd name="connsiteX6" fmla="*/ 3709986 w 4567236"/>
                  <a:gd name="connsiteY6" fmla="*/ 49176 h 70610"/>
                  <a:gd name="connsiteX7" fmla="*/ 3645693 w 4567236"/>
                  <a:gd name="connsiteY7" fmla="*/ 18220 h 70610"/>
                  <a:gd name="connsiteX8" fmla="*/ 3505199 w 4567236"/>
                  <a:gd name="connsiteY8" fmla="*/ 27745 h 70610"/>
                  <a:gd name="connsiteX9" fmla="*/ 3302793 w 4567236"/>
                  <a:gd name="connsiteY9" fmla="*/ 70607 h 70610"/>
                  <a:gd name="connsiteX10" fmla="*/ 3169443 w 4567236"/>
                  <a:gd name="connsiteY10" fmla="*/ 25364 h 70610"/>
                  <a:gd name="connsiteX11" fmla="*/ 3038474 w 4567236"/>
                  <a:gd name="connsiteY11" fmla="*/ 34889 h 70610"/>
                  <a:gd name="connsiteX12" fmla="*/ 2826543 w 4567236"/>
                  <a:gd name="connsiteY12" fmla="*/ 63464 h 70610"/>
                  <a:gd name="connsiteX13" fmla="*/ 2678905 w 4567236"/>
                  <a:gd name="connsiteY13" fmla="*/ 46794 h 70610"/>
                  <a:gd name="connsiteX14" fmla="*/ 2545555 w 4567236"/>
                  <a:gd name="connsiteY14" fmla="*/ 15838 h 70610"/>
                  <a:gd name="connsiteX15" fmla="*/ 2271711 w 4567236"/>
                  <a:gd name="connsiteY15" fmla="*/ 68226 h 70610"/>
                  <a:gd name="connsiteX16" fmla="*/ 2083592 w 4567236"/>
                  <a:gd name="connsiteY16" fmla="*/ 25363 h 70610"/>
                  <a:gd name="connsiteX17" fmla="*/ 1797842 w 4567236"/>
                  <a:gd name="connsiteY17" fmla="*/ 44413 h 70610"/>
                  <a:gd name="connsiteX18" fmla="*/ 1583531 w 4567236"/>
                  <a:gd name="connsiteY18" fmla="*/ 1549 h 70610"/>
                  <a:gd name="connsiteX19" fmla="*/ 1264442 w 4567236"/>
                  <a:gd name="connsiteY19" fmla="*/ 49176 h 70610"/>
                  <a:gd name="connsiteX20" fmla="*/ 1090611 w 4567236"/>
                  <a:gd name="connsiteY20" fmla="*/ 11077 h 70610"/>
                  <a:gd name="connsiteX21" fmla="*/ 826292 w 4567236"/>
                  <a:gd name="connsiteY21" fmla="*/ 56320 h 70610"/>
                  <a:gd name="connsiteX22" fmla="*/ 550068 w 4567236"/>
                  <a:gd name="connsiteY22" fmla="*/ 8695 h 70610"/>
                  <a:gd name="connsiteX23" fmla="*/ 304799 w 4567236"/>
                  <a:gd name="connsiteY23" fmla="*/ 39651 h 70610"/>
                  <a:gd name="connsiteX24" fmla="*/ 190499 w 4567236"/>
                  <a:gd name="connsiteY24" fmla="*/ 61083 h 70610"/>
                  <a:gd name="connsiteX25" fmla="*/ 0 w 4567236"/>
                  <a:gd name="connsiteY25" fmla="*/ 22983 h 70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567236" h="70610">
                    <a:moveTo>
                      <a:pt x="4567236" y="27745"/>
                    </a:moveTo>
                    <a:cubicBezTo>
                      <a:pt x="4540248" y="42231"/>
                      <a:pt x="4513261" y="56717"/>
                      <a:pt x="4476749" y="63464"/>
                    </a:cubicBezTo>
                    <a:cubicBezTo>
                      <a:pt x="4440237" y="70211"/>
                      <a:pt x="4393008" y="72988"/>
                      <a:pt x="4348161" y="68226"/>
                    </a:cubicBezTo>
                    <a:cubicBezTo>
                      <a:pt x="4303314" y="63464"/>
                      <a:pt x="4241799" y="43620"/>
                      <a:pt x="4207668" y="34889"/>
                    </a:cubicBezTo>
                    <a:cubicBezTo>
                      <a:pt x="4173537" y="26158"/>
                      <a:pt x="4191396" y="11474"/>
                      <a:pt x="4143374" y="15839"/>
                    </a:cubicBezTo>
                    <a:cubicBezTo>
                      <a:pt x="4095352" y="20204"/>
                      <a:pt x="3991767" y="55526"/>
                      <a:pt x="3919536" y="61082"/>
                    </a:cubicBezTo>
                    <a:cubicBezTo>
                      <a:pt x="3847305" y="66638"/>
                      <a:pt x="3755627" y="56320"/>
                      <a:pt x="3709986" y="49176"/>
                    </a:cubicBezTo>
                    <a:cubicBezTo>
                      <a:pt x="3664345" y="42032"/>
                      <a:pt x="3679824" y="21792"/>
                      <a:pt x="3645693" y="18220"/>
                    </a:cubicBezTo>
                    <a:cubicBezTo>
                      <a:pt x="3611562" y="14648"/>
                      <a:pt x="3562349" y="19014"/>
                      <a:pt x="3505199" y="27745"/>
                    </a:cubicBezTo>
                    <a:cubicBezTo>
                      <a:pt x="3448049" y="36476"/>
                      <a:pt x="3358752" y="71004"/>
                      <a:pt x="3302793" y="70607"/>
                    </a:cubicBezTo>
                    <a:cubicBezTo>
                      <a:pt x="3246834" y="70210"/>
                      <a:pt x="3213496" y="31317"/>
                      <a:pt x="3169443" y="25364"/>
                    </a:cubicBezTo>
                    <a:cubicBezTo>
                      <a:pt x="3125390" y="19411"/>
                      <a:pt x="3095624" y="28539"/>
                      <a:pt x="3038474" y="34889"/>
                    </a:cubicBezTo>
                    <a:cubicBezTo>
                      <a:pt x="2981324" y="41239"/>
                      <a:pt x="2886471" y="61480"/>
                      <a:pt x="2826543" y="63464"/>
                    </a:cubicBezTo>
                    <a:cubicBezTo>
                      <a:pt x="2766615" y="65448"/>
                      <a:pt x="2713829" y="57114"/>
                      <a:pt x="2678905" y="46794"/>
                    </a:cubicBezTo>
                    <a:cubicBezTo>
                      <a:pt x="2643981" y="36474"/>
                      <a:pt x="2612627" y="21791"/>
                      <a:pt x="2545555" y="15838"/>
                    </a:cubicBezTo>
                    <a:cubicBezTo>
                      <a:pt x="2478483" y="9885"/>
                      <a:pt x="2357833" y="62273"/>
                      <a:pt x="2271711" y="68226"/>
                    </a:cubicBezTo>
                    <a:lnTo>
                      <a:pt x="2083592" y="25363"/>
                    </a:lnTo>
                    <a:cubicBezTo>
                      <a:pt x="2005408" y="18219"/>
                      <a:pt x="1940320" y="40047"/>
                      <a:pt x="1797842" y="44413"/>
                    </a:cubicBezTo>
                    <a:cubicBezTo>
                      <a:pt x="1726405" y="30125"/>
                      <a:pt x="1702593" y="49174"/>
                      <a:pt x="1583531" y="1549"/>
                    </a:cubicBezTo>
                    <a:cubicBezTo>
                      <a:pt x="1494234" y="-5991"/>
                      <a:pt x="1430733" y="14648"/>
                      <a:pt x="1264442" y="49176"/>
                    </a:cubicBezTo>
                    <a:cubicBezTo>
                      <a:pt x="1168001" y="54733"/>
                      <a:pt x="1184670" y="27349"/>
                      <a:pt x="1090611" y="11077"/>
                    </a:cubicBezTo>
                    <a:cubicBezTo>
                      <a:pt x="1026714" y="6315"/>
                      <a:pt x="884235" y="51955"/>
                      <a:pt x="826292" y="56320"/>
                    </a:cubicBezTo>
                    <a:cubicBezTo>
                      <a:pt x="737789" y="63067"/>
                      <a:pt x="666352" y="61876"/>
                      <a:pt x="550068" y="8695"/>
                    </a:cubicBezTo>
                    <a:cubicBezTo>
                      <a:pt x="463549" y="2345"/>
                      <a:pt x="375046" y="30126"/>
                      <a:pt x="304799" y="39651"/>
                    </a:cubicBezTo>
                    <a:cubicBezTo>
                      <a:pt x="240108" y="42429"/>
                      <a:pt x="241299" y="63861"/>
                      <a:pt x="190499" y="61083"/>
                    </a:cubicBezTo>
                    <a:cubicBezTo>
                      <a:pt x="139699" y="58305"/>
                      <a:pt x="26987" y="23380"/>
                      <a:pt x="0" y="22983"/>
                    </a:cubicBezTo>
                  </a:path>
                </a:pathLst>
              </a:cu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6" name="Oval 475">
                <a:extLst>
                  <a:ext uri="{FF2B5EF4-FFF2-40B4-BE49-F238E27FC236}">
                    <a16:creationId xmlns:a16="http://schemas.microsoft.com/office/drawing/2014/main" id="{53CC29DA-473E-4CEE-9251-37D37BFE1ECE}"/>
                  </a:ext>
                </a:extLst>
              </p:cNvPr>
              <p:cNvSpPr/>
              <p:nvPr/>
            </p:nvSpPr>
            <p:spPr>
              <a:xfrm rot="14450951" flipV="1">
                <a:off x="7384036" y="5297429"/>
                <a:ext cx="45720" cy="45720"/>
              </a:xfrm>
              <a:prstGeom prst="ellipse">
                <a:avLst/>
              </a:prstGeom>
              <a:solidFill>
                <a:srgbClr val="0687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04F4333F-CB00-47DD-84DE-4FD13CC86F81}"/>
              </a:ext>
            </a:extLst>
          </p:cNvPr>
          <p:cNvSpPr/>
          <p:nvPr/>
        </p:nvSpPr>
        <p:spPr>
          <a:xfrm>
            <a:off x="-73891" y="1597891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Rectangle 295">
            <a:extLst>
              <a:ext uri="{FF2B5EF4-FFF2-40B4-BE49-F238E27FC236}">
                <a16:creationId xmlns:a16="http://schemas.microsoft.com/office/drawing/2014/main" id="{B8289A15-D0E9-416D-9BCA-9A7B2710D0AD}"/>
              </a:ext>
            </a:extLst>
          </p:cNvPr>
          <p:cNvSpPr/>
          <p:nvPr/>
        </p:nvSpPr>
        <p:spPr>
          <a:xfrm>
            <a:off x="-54649" y="4123509"/>
            <a:ext cx="11840278" cy="707954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Rectangle 296">
            <a:extLst>
              <a:ext uri="{FF2B5EF4-FFF2-40B4-BE49-F238E27FC236}">
                <a16:creationId xmlns:a16="http://schemas.microsoft.com/office/drawing/2014/main" id="{B76758C6-D78A-4C18-8DEF-9C4D95066239}"/>
              </a:ext>
            </a:extLst>
          </p:cNvPr>
          <p:cNvSpPr/>
          <p:nvPr/>
        </p:nvSpPr>
        <p:spPr>
          <a:xfrm>
            <a:off x="0" y="2390928"/>
            <a:ext cx="11840278" cy="590363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8" name="Rectangle 297">
            <a:extLst>
              <a:ext uri="{FF2B5EF4-FFF2-40B4-BE49-F238E27FC236}">
                <a16:creationId xmlns:a16="http://schemas.microsoft.com/office/drawing/2014/main" id="{51030F3B-52F1-400E-AB8B-534447DC7630}"/>
              </a:ext>
            </a:extLst>
          </p:cNvPr>
          <p:cNvSpPr/>
          <p:nvPr/>
        </p:nvSpPr>
        <p:spPr>
          <a:xfrm>
            <a:off x="79751" y="4706295"/>
            <a:ext cx="11840278" cy="524705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537DCF3-5473-4303-9089-8C56190DAC34}"/>
              </a:ext>
            </a:extLst>
          </p:cNvPr>
          <p:cNvSpPr txBox="1"/>
          <p:nvPr/>
        </p:nvSpPr>
        <p:spPr>
          <a:xfrm>
            <a:off x="850314" y="3222608"/>
            <a:ext cx="1143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pc="3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V</a:t>
            </a:r>
          </a:p>
        </p:txBody>
      </p:sp>
      <p:sp>
        <p:nvSpPr>
          <p:cNvPr id="300" name="TextBox 299">
            <a:extLst>
              <a:ext uri="{FF2B5EF4-FFF2-40B4-BE49-F238E27FC236}">
                <a16:creationId xmlns:a16="http://schemas.microsoft.com/office/drawing/2014/main" id="{DAE068C2-E8C9-4D92-B3CB-D0B68B874B08}"/>
              </a:ext>
            </a:extLst>
          </p:cNvPr>
          <p:cNvSpPr txBox="1"/>
          <p:nvPr/>
        </p:nvSpPr>
        <p:spPr>
          <a:xfrm>
            <a:off x="1348734" y="5542305"/>
            <a:ext cx="1143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pc="300" dirty="0">
                <a:solidFill>
                  <a:srgbClr val="7030A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VI</a:t>
            </a:r>
          </a:p>
        </p:txBody>
      </p:sp>
    </p:spTree>
    <p:extLst>
      <p:ext uri="{BB962C8B-B14F-4D97-AF65-F5344CB8AC3E}">
        <p14:creationId xmlns:p14="http://schemas.microsoft.com/office/powerpoint/2010/main" val="301027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0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C0AFEBA-9BB7-465B-8597-EA33F39B69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724" y="1295614"/>
            <a:ext cx="6636762" cy="4903596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5150F73A-E26B-426E-A8B4-523440EA2A5D}"/>
              </a:ext>
            </a:extLst>
          </p:cNvPr>
          <p:cNvSpPr/>
          <p:nvPr/>
        </p:nvSpPr>
        <p:spPr>
          <a:xfrm>
            <a:off x="6340305" y="4646951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E304C74-599E-4547-8E45-3D74FCF374CC}"/>
              </a:ext>
            </a:extLst>
          </p:cNvPr>
          <p:cNvSpPr/>
          <p:nvPr/>
        </p:nvSpPr>
        <p:spPr>
          <a:xfrm>
            <a:off x="9648656" y="3333591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V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0D0E108-FB2B-443E-B8A7-3F5F15E0F89F}"/>
              </a:ext>
            </a:extLst>
          </p:cNvPr>
          <p:cNvSpPr/>
          <p:nvPr/>
        </p:nvSpPr>
        <p:spPr>
          <a:xfrm>
            <a:off x="10096328" y="3831272"/>
            <a:ext cx="146304" cy="146304"/>
          </a:xfrm>
          <a:prstGeom prst="ellipse">
            <a:avLst/>
          </a:prstGeom>
          <a:solidFill>
            <a:srgbClr val="9C5BCD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C13716-FAD5-40C8-AC3D-E328968654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V and AVI on the protei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778C24-CBB3-4341-890B-C852FD8C44F7}"/>
              </a:ext>
            </a:extLst>
          </p:cNvPr>
          <p:cNvSpPr/>
          <p:nvPr/>
        </p:nvSpPr>
        <p:spPr>
          <a:xfrm>
            <a:off x="8017844" y="5988337"/>
            <a:ext cx="29838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200" dirty="0"/>
              <a:t>Adapted from Kim et al. J. Dent Res (2004) </a:t>
            </a:r>
            <a:endParaRPr lang="en-US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FF45FF-26BD-4E87-B20D-A193F2783A2B}"/>
              </a:ext>
            </a:extLst>
          </p:cNvPr>
          <p:cNvSpPr txBox="1"/>
          <p:nvPr/>
        </p:nvSpPr>
        <p:spPr>
          <a:xfrm>
            <a:off x="3648317" y="2629585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tside of ce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3AEE5E-38FF-4D47-91C0-FB270071C3DD}"/>
              </a:ext>
            </a:extLst>
          </p:cNvPr>
          <p:cNvSpPr txBox="1"/>
          <p:nvPr/>
        </p:nvSpPr>
        <p:spPr>
          <a:xfrm>
            <a:off x="3648317" y="3334535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ell membra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58901D-FDD1-4D18-83C4-75E134F7C241}"/>
              </a:ext>
            </a:extLst>
          </p:cNvPr>
          <p:cNvSpPr txBox="1"/>
          <p:nvPr/>
        </p:nvSpPr>
        <p:spPr>
          <a:xfrm>
            <a:off x="3648317" y="4036270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side of cel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DB89E06-EE8E-442E-8250-06AF4ABB5CC4}"/>
              </a:ext>
            </a:extLst>
          </p:cNvPr>
          <p:cNvSpPr/>
          <p:nvPr/>
        </p:nvSpPr>
        <p:spPr>
          <a:xfrm>
            <a:off x="6338974" y="4645618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P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B1B3CBF-C65D-4A03-A47E-EFD4ABB4ED24}"/>
              </a:ext>
            </a:extLst>
          </p:cNvPr>
          <p:cNvSpPr/>
          <p:nvPr/>
        </p:nvSpPr>
        <p:spPr>
          <a:xfrm>
            <a:off x="9647325" y="3332258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8563138-865E-423C-BBB0-16E33A16A7C3}"/>
              </a:ext>
            </a:extLst>
          </p:cNvPr>
          <p:cNvSpPr/>
          <p:nvPr/>
        </p:nvSpPr>
        <p:spPr>
          <a:xfrm>
            <a:off x="10094997" y="3829939"/>
            <a:ext cx="146304" cy="146304"/>
          </a:xfrm>
          <a:prstGeom prst="ellipse">
            <a:avLst/>
          </a:prstGeom>
          <a:solidFill>
            <a:srgbClr val="00B0F0"/>
          </a:solidFill>
          <a:ln>
            <a:solidFill>
              <a:srgbClr val="068B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/>
              <a:t>V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BC700FD-DEF2-459E-806A-AE989F5E5706}"/>
              </a:ext>
            </a:extLst>
          </p:cNvPr>
          <p:cNvSpPr txBox="1">
            <a:spLocks/>
          </p:cNvSpPr>
          <p:nvPr/>
        </p:nvSpPr>
        <p:spPr>
          <a:xfrm>
            <a:off x="391160" y="1707444"/>
            <a:ext cx="3257157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0687AA"/>
                </a:solidFill>
              </a:rPr>
              <a:t>PAV – taster</a:t>
            </a:r>
          </a:p>
          <a:p>
            <a:r>
              <a:rPr lang="en-US" dirty="0">
                <a:solidFill>
                  <a:srgbClr val="7030A0"/>
                </a:solidFill>
              </a:rPr>
              <a:t>AVI – non-taster</a:t>
            </a:r>
          </a:p>
          <a:p>
            <a:endParaRPr lang="en-US" dirty="0"/>
          </a:p>
          <a:p>
            <a:r>
              <a:rPr lang="en-US" dirty="0"/>
              <a:t>Note where changes are in the protein. </a:t>
            </a:r>
          </a:p>
          <a:p>
            <a:r>
              <a:rPr lang="en-US" dirty="0"/>
              <a:t>Do you expect that the binding is affected or the signaling?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75B48CF-C351-4CD5-B738-B6FDC66F4F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7750" y="-126303"/>
            <a:ext cx="2020798" cy="2020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7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9" grpId="0" animBg="1"/>
      <p:bldP spid="10" grpId="0" animBg="1"/>
      <p:bldP spid="1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D5E9F-D67E-40FF-951B-C2B8EFED6F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ter allele is domina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1FBF37-F948-42FA-8D88-04980735B4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5269901" cy="406399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AS2R38 is located                          on chromosome 7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lleles</a:t>
            </a:r>
          </a:p>
          <a:p>
            <a:r>
              <a:rPr lang="en-US" dirty="0"/>
              <a:t>T – taster</a:t>
            </a:r>
          </a:p>
          <a:p>
            <a:endParaRPr lang="en-US" dirty="0"/>
          </a:p>
          <a:p>
            <a:r>
              <a:rPr lang="en-US" dirty="0"/>
              <a:t>t  – non-taster</a:t>
            </a:r>
          </a:p>
          <a:p>
            <a:endParaRPr lang="en-US" dirty="0"/>
          </a:p>
        </p:txBody>
      </p:sp>
      <p:grpSp>
        <p:nvGrpSpPr>
          <p:cNvPr id="5121" name="Group 5120">
            <a:extLst>
              <a:ext uri="{FF2B5EF4-FFF2-40B4-BE49-F238E27FC236}">
                <a16:creationId xmlns:a16="http://schemas.microsoft.com/office/drawing/2014/main" id="{82B0B652-FB97-4526-ADD8-CC56A521A059}"/>
              </a:ext>
            </a:extLst>
          </p:cNvPr>
          <p:cNvGrpSpPr/>
          <p:nvPr/>
        </p:nvGrpSpPr>
        <p:grpSpPr>
          <a:xfrm>
            <a:off x="391160" y="3546373"/>
            <a:ext cx="4465748" cy="537347"/>
            <a:chOff x="3429897" y="1500832"/>
            <a:chExt cx="4465748" cy="537347"/>
          </a:xfrm>
        </p:grpSpPr>
        <p:pic>
          <p:nvPicPr>
            <p:cNvPr id="5122" name="Picture 2" descr="Cytogenetic Location: 7q34, which is the long (q) arm of chromosome 7 at position 34">
              <a:extLst>
                <a:ext uri="{FF2B5EF4-FFF2-40B4-BE49-F238E27FC236}">
                  <a16:creationId xmlns:a16="http://schemas.microsoft.com/office/drawing/2014/main" id="{29A9013B-9F2F-467F-9BA5-265730CF25A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9897" y="1870880"/>
              <a:ext cx="4465748" cy="1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9BEBDA96-E3DC-406D-B7A4-0B60C05E5182}"/>
                </a:ext>
              </a:extLst>
            </p:cNvPr>
            <p:cNvCxnSpPr>
              <a:cxnSpLocks/>
            </p:cNvCxnSpPr>
            <p:nvPr/>
          </p:nvCxnSpPr>
          <p:spPr>
            <a:xfrm>
              <a:off x="7360076" y="1886816"/>
              <a:ext cx="0" cy="1371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7635DE8-42FD-4B91-A405-0B907F7792FB}"/>
                </a:ext>
              </a:extLst>
            </p:cNvPr>
            <p:cNvCxnSpPr/>
            <p:nvPr/>
          </p:nvCxnSpPr>
          <p:spPr>
            <a:xfrm flipV="1">
              <a:off x="7359863" y="1707444"/>
              <a:ext cx="83448" cy="179372"/>
            </a:xfrm>
            <a:prstGeom prst="line">
              <a:avLst/>
            </a:prstGeom>
            <a:ln>
              <a:solidFill>
                <a:srgbClr val="0687A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AE482DB-44CD-464A-879B-AF303F2862C0}"/>
                </a:ext>
              </a:extLst>
            </p:cNvPr>
            <p:cNvSpPr txBox="1"/>
            <p:nvPr/>
          </p:nvSpPr>
          <p:spPr>
            <a:xfrm>
              <a:off x="7388438" y="1500832"/>
              <a:ext cx="206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687AA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</a:t>
              </a:r>
            </a:p>
          </p:txBody>
        </p:sp>
      </p:grpSp>
      <p:grpSp>
        <p:nvGrpSpPr>
          <p:cNvPr id="5123" name="Group 5122">
            <a:extLst>
              <a:ext uri="{FF2B5EF4-FFF2-40B4-BE49-F238E27FC236}">
                <a16:creationId xmlns:a16="http://schemas.microsoft.com/office/drawing/2014/main" id="{4B99CF3D-8691-4B68-A136-F7BE8748CB28}"/>
              </a:ext>
            </a:extLst>
          </p:cNvPr>
          <p:cNvGrpSpPr/>
          <p:nvPr/>
        </p:nvGrpSpPr>
        <p:grpSpPr>
          <a:xfrm>
            <a:off x="6055320" y="5182808"/>
            <a:ext cx="4465748" cy="1134129"/>
            <a:chOff x="3428187" y="3808449"/>
            <a:chExt cx="4465748" cy="1134129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46A83225-2A02-45A0-8E1A-99EBF9EB3EC7}"/>
                </a:ext>
              </a:extLst>
            </p:cNvPr>
            <p:cNvGrpSpPr/>
            <p:nvPr/>
          </p:nvGrpSpPr>
          <p:grpSpPr>
            <a:xfrm>
              <a:off x="3428187" y="3808449"/>
              <a:ext cx="4465748" cy="537347"/>
              <a:chOff x="3429897" y="1500832"/>
              <a:chExt cx="4465748" cy="537347"/>
            </a:xfrm>
          </p:grpSpPr>
          <p:pic>
            <p:nvPicPr>
              <p:cNvPr id="56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A174BFBC-497C-40B6-B329-607AEE801D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71C262CC-6C14-450C-B456-373B9F9929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>
                <a:extLst>
                  <a:ext uri="{FF2B5EF4-FFF2-40B4-BE49-F238E27FC236}">
                    <a16:creationId xmlns:a16="http://schemas.microsoft.com/office/drawing/2014/main" id="{776DD26F-8BC2-4655-995F-8C1D0BAF6DEA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2FE5142F-3528-492C-973B-54078ECF4405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E233DFDB-FD20-4C2A-8A7E-FA042A767331}"/>
                </a:ext>
              </a:extLst>
            </p:cNvPr>
            <p:cNvGrpSpPr/>
            <p:nvPr/>
          </p:nvGrpSpPr>
          <p:grpSpPr>
            <a:xfrm>
              <a:off x="3428187" y="4408683"/>
              <a:ext cx="4465748" cy="533895"/>
              <a:chOff x="3429897" y="2344906"/>
              <a:chExt cx="4465748" cy="533895"/>
            </a:xfrm>
          </p:grpSpPr>
          <p:pic>
            <p:nvPicPr>
              <p:cNvPr id="61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387F2006-99AE-4E1A-8F66-BD5E0B8A45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A317E65F-D40D-4B31-8668-91710A172B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2A4B1A51-FED9-4887-BA64-022C215F86A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973C340-B512-48A6-BF72-E1789EC57D13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5125" name="Group 5124">
            <a:extLst>
              <a:ext uri="{FF2B5EF4-FFF2-40B4-BE49-F238E27FC236}">
                <a16:creationId xmlns:a16="http://schemas.microsoft.com/office/drawing/2014/main" id="{FCE304B6-EFB5-4A59-ACEF-AC310F55AB37}"/>
              </a:ext>
            </a:extLst>
          </p:cNvPr>
          <p:cNvGrpSpPr/>
          <p:nvPr/>
        </p:nvGrpSpPr>
        <p:grpSpPr>
          <a:xfrm>
            <a:off x="6055320" y="2175523"/>
            <a:ext cx="4465748" cy="1134129"/>
            <a:chOff x="3429897" y="2755599"/>
            <a:chExt cx="4465748" cy="113412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8E63E8BA-499B-4247-944B-363B75271D9C}"/>
                </a:ext>
              </a:extLst>
            </p:cNvPr>
            <p:cNvGrpSpPr/>
            <p:nvPr/>
          </p:nvGrpSpPr>
          <p:grpSpPr>
            <a:xfrm>
              <a:off x="3429897" y="2755599"/>
              <a:ext cx="4465748" cy="537347"/>
              <a:chOff x="3429897" y="1500832"/>
              <a:chExt cx="4465748" cy="537347"/>
            </a:xfrm>
          </p:grpSpPr>
          <p:pic>
            <p:nvPicPr>
              <p:cNvPr id="66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3175B333-A159-4458-B18D-EC537AD1FB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2F7CA9B3-C7D2-46E9-9552-8B47FCA8791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FF2B5EF4-FFF2-40B4-BE49-F238E27FC236}">
                    <a16:creationId xmlns:a16="http://schemas.microsoft.com/office/drawing/2014/main" id="{CB3C6D7C-4879-44B1-A9FE-1750EE46EDA4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A2307FB7-698A-4E4D-8D23-9D6FAA14D8CE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F8527D2B-F246-4713-8631-24ECE5085D61}"/>
                </a:ext>
              </a:extLst>
            </p:cNvPr>
            <p:cNvGrpSpPr/>
            <p:nvPr/>
          </p:nvGrpSpPr>
          <p:grpSpPr>
            <a:xfrm>
              <a:off x="3429897" y="3355833"/>
              <a:ext cx="4465748" cy="533895"/>
              <a:chOff x="3429897" y="2344906"/>
              <a:chExt cx="4465748" cy="533895"/>
            </a:xfrm>
          </p:grpSpPr>
          <p:pic>
            <p:nvPicPr>
              <p:cNvPr id="71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1D631130-2ED5-4CE9-87E5-07C3C9AAF2C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2C157C92-044E-41E4-BD4B-40DA0DDC8C9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CFCE0B3E-5449-4931-9465-3A72992507F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FA5EDF3D-7F60-4E6D-B8EC-89B87770C009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5126" name="Group 5125">
            <a:extLst>
              <a:ext uri="{FF2B5EF4-FFF2-40B4-BE49-F238E27FC236}">
                <a16:creationId xmlns:a16="http://schemas.microsoft.com/office/drawing/2014/main" id="{7E2381FA-D9FA-4174-9CF0-71A51DC16CB7}"/>
              </a:ext>
            </a:extLst>
          </p:cNvPr>
          <p:cNvGrpSpPr/>
          <p:nvPr/>
        </p:nvGrpSpPr>
        <p:grpSpPr>
          <a:xfrm>
            <a:off x="6055320" y="3697736"/>
            <a:ext cx="4465748" cy="1134129"/>
            <a:chOff x="3428187" y="3930823"/>
            <a:chExt cx="4465748" cy="1134129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32D0A6AD-C2D6-43A8-953C-66F5A15F0789}"/>
                </a:ext>
              </a:extLst>
            </p:cNvPr>
            <p:cNvGrpSpPr/>
            <p:nvPr/>
          </p:nvGrpSpPr>
          <p:grpSpPr>
            <a:xfrm>
              <a:off x="3428187" y="3930823"/>
              <a:ext cx="4465748" cy="537347"/>
              <a:chOff x="3429897" y="1500832"/>
              <a:chExt cx="4465748" cy="537347"/>
            </a:xfrm>
          </p:grpSpPr>
          <p:pic>
            <p:nvPicPr>
              <p:cNvPr id="77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E91C087E-233C-43C2-8D78-5B0890733F1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1870880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18F628A0-B41B-4A3C-92A6-ADAA17F663A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1886816"/>
                <a:ext cx="0" cy="137160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3585EA1D-A074-49DF-B586-6E07C2805899}"/>
                  </a:ext>
                </a:extLst>
              </p:cNvPr>
              <p:cNvCxnSpPr/>
              <p:nvPr/>
            </p:nvCxnSpPr>
            <p:spPr>
              <a:xfrm flipV="1">
                <a:off x="7359863" y="1707444"/>
                <a:ext cx="83448" cy="179372"/>
              </a:xfrm>
              <a:prstGeom prst="line">
                <a:avLst/>
              </a:prstGeom>
              <a:ln>
                <a:solidFill>
                  <a:srgbClr val="0687A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F238691D-D5E3-4D03-A19A-922A1B28DEF5}"/>
                  </a:ext>
                </a:extLst>
              </p:cNvPr>
              <p:cNvSpPr txBox="1"/>
              <p:nvPr/>
            </p:nvSpPr>
            <p:spPr>
              <a:xfrm>
                <a:off x="7388438" y="1500832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0687AA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72AAA9D4-8FA8-40D3-9584-1A5DF0FCF2F5}"/>
                </a:ext>
              </a:extLst>
            </p:cNvPr>
            <p:cNvGrpSpPr/>
            <p:nvPr/>
          </p:nvGrpSpPr>
          <p:grpSpPr>
            <a:xfrm>
              <a:off x="3428187" y="4531057"/>
              <a:ext cx="4465748" cy="533895"/>
              <a:chOff x="3429897" y="2344906"/>
              <a:chExt cx="4465748" cy="533895"/>
            </a:xfrm>
          </p:grpSpPr>
          <p:pic>
            <p:nvPicPr>
              <p:cNvPr id="82" name="Picture 2" descr="Cytogenetic Location: 7q34, which is the long (q) arm of chromosome 7 at position 34">
                <a:extLst>
                  <a:ext uri="{FF2B5EF4-FFF2-40B4-BE49-F238E27FC236}">
                    <a16:creationId xmlns:a16="http://schemas.microsoft.com/office/drawing/2014/main" id="{D8FEE5D6-C496-4564-A193-317B90169B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29897" y="2344906"/>
                <a:ext cx="4465748" cy="1672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DCB2FB9-3B55-4C38-85EC-1B69AC6F6F0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360076" y="2359109"/>
                <a:ext cx="0" cy="137160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9EEA886B-5DB4-479E-8A1E-571E6227FD5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359863" y="2496269"/>
                <a:ext cx="83448" cy="179372"/>
              </a:xfrm>
              <a:prstGeom prst="line">
                <a:avLst/>
              </a:prstGeom>
              <a:ln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FC8F8102-D6B0-4142-B7DD-F630679386EB}"/>
                  </a:ext>
                </a:extLst>
              </p:cNvPr>
              <p:cNvSpPr txBox="1"/>
              <p:nvPr/>
            </p:nvSpPr>
            <p:spPr>
              <a:xfrm>
                <a:off x="7404682" y="2509469"/>
                <a:ext cx="2065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solidFill>
                      <a:srgbClr val="7030A0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rPr>
                  <a:t>t</a:t>
                </a:r>
              </a:p>
            </p:txBody>
          </p:sp>
        </p:grp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93BF804-A00E-4CF3-BBB9-909BAE4B6026}"/>
              </a:ext>
            </a:extLst>
          </p:cNvPr>
          <p:cNvGrpSpPr/>
          <p:nvPr/>
        </p:nvGrpSpPr>
        <p:grpSpPr>
          <a:xfrm>
            <a:off x="391160" y="4520977"/>
            <a:ext cx="4465748" cy="537347"/>
            <a:chOff x="3429897" y="1500832"/>
            <a:chExt cx="4465748" cy="537347"/>
          </a:xfrm>
        </p:grpSpPr>
        <p:pic>
          <p:nvPicPr>
            <p:cNvPr id="96" name="Picture 2" descr="Cytogenetic Location: 7q34, which is the long (q) arm of chromosome 7 at position 34">
              <a:extLst>
                <a:ext uri="{FF2B5EF4-FFF2-40B4-BE49-F238E27FC236}">
                  <a16:creationId xmlns:a16="http://schemas.microsoft.com/office/drawing/2014/main" id="{90DBAE9A-D3D6-472B-837A-8BA9F2C957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29897" y="1870880"/>
              <a:ext cx="4465748" cy="1672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291C4AA3-BDAF-4568-B75F-674B99D8C91F}"/>
                </a:ext>
              </a:extLst>
            </p:cNvPr>
            <p:cNvCxnSpPr>
              <a:cxnSpLocks/>
            </p:cNvCxnSpPr>
            <p:nvPr/>
          </p:nvCxnSpPr>
          <p:spPr>
            <a:xfrm>
              <a:off x="7360076" y="1886816"/>
              <a:ext cx="0" cy="137160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E63C6D7-D7E8-4446-87B7-2C870945BE81}"/>
                </a:ext>
              </a:extLst>
            </p:cNvPr>
            <p:cNvCxnSpPr/>
            <p:nvPr/>
          </p:nvCxnSpPr>
          <p:spPr>
            <a:xfrm flipV="1">
              <a:off x="7359863" y="1707444"/>
              <a:ext cx="83448" cy="179372"/>
            </a:xfrm>
            <a:prstGeom prst="line">
              <a:avLst/>
            </a:prstGeom>
            <a:ln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BFDAC968-62C1-4545-B298-77D9D760BFD6}"/>
                </a:ext>
              </a:extLst>
            </p:cNvPr>
            <p:cNvSpPr txBox="1"/>
            <p:nvPr/>
          </p:nvSpPr>
          <p:spPr>
            <a:xfrm>
              <a:off x="7388438" y="1500832"/>
              <a:ext cx="2065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7030A0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</a:t>
              </a:r>
            </a:p>
          </p:txBody>
        </p:sp>
      </p:grpSp>
      <p:sp>
        <p:nvSpPr>
          <p:cNvPr id="100" name="Content Placeholder 2">
            <a:extLst>
              <a:ext uri="{FF2B5EF4-FFF2-40B4-BE49-F238E27FC236}">
                <a16:creationId xmlns:a16="http://schemas.microsoft.com/office/drawing/2014/main" id="{C04A7F77-5CB0-4F7E-B035-4E62C60488BF}"/>
              </a:ext>
            </a:extLst>
          </p:cNvPr>
          <p:cNvSpPr txBox="1">
            <a:spLocks/>
          </p:cNvSpPr>
          <p:nvPr/>
        </p:nvSpPr>
        <p:spPr>
          <a:xfrm>
            <a:off x="6055320" y="1707666"/>
            <a:ext cx="5269901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Genotypes</a:t>
            </a:r>
          </a:p>
          <a:p>
            <a:r>
              <a:rPr lang="en-US" dirty="0"/>
              <a:t>TT – taste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t  – taster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 err="1"/>
              <a:t>tt</a:t>
            </a:r>
            <a:r>
              <a:rPr lang="en-US" dirty="0"/>
              <a:t> – non-tast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856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miniPCR bio Template PPT 080719_Apertura copia copy 24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239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819476" cy="1325563"/>
          </a:xfrm>
        </p:spPr>
        <p:txBody>
          <a:bodyPr/>
          <a:lstStyle/>
          <a:p>
            <a:r>
              <a:rPr lang="en-US" dirty="0"/>
              <a:t>The Polymerase Chain Reaction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90525" y="1578207"/>
            <a:ext cx="5809384" cy="5886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D0103A"/>
                </a:solidFill>
                <a:latin typeface="Helvetica"/>
                <a:ea typeface="+mn-ea"/>
                <a:cs typeface="Helvetica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ind and replicate a specific DNA target</a:t>
            </a:r>
          </a:p>
        </p:txBody>
      </p:sp>
    </p:spTree>
    <p:extLst>
      <p:ext uri="{BB962C8B-B14F-4D97-AF65-F5344CB8AC3E}">
        <p14:creationId xmlns:p14="http://schemas.microsoft.com/office/powerpoint/2010/main" val="3135536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5B159B-28AC-4227-A373-A98E98ED0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your blue my red? (and other deep thoughts)</a:t>
            </a:r>
          </a:p>
        </p:txBody>
      </p:sp>
      <p:pic>
        <p:nvPicPr>
          <p:cNvPr id="2050" name="Picture 2" descr="The dress - Wikipedia">
            <a:extLst>
              <a:ext uri="{FF2B5EF4-FFF2-40B4-BE49-F238E27FC236}">
                <a16:creationId xmlns:a16="http://schemas.microsoft.com/office/drawing/2014/main" id="{2C789A4E-2173-4D27-AF32-CABECE1BE1E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2242" y="1598435"/>
            <a:ext cx="2886075" cy="385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4B7589A-8349-4D36-9E37-9B7D05E0AF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3435" y="1595348"/>
            <a:ext cx="4276725" cy="38561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FDDDF6-5BBD-4D43-A79E-65EA174FE38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50" y="1295612"/>
            <a:ext cx="1983979" cy="18880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E9A22A3-29A2-4B85-AE84-1CBB696E30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3146" y="4400813"/>
            <a:ext cx="1983979" cy="18880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4C32F8-558C-42AD-884B-0B2B968C2A3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71" y="2846906"/>
            <a:ext cx="1983979" cy="1888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896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5DBEE06-4F02-46BA-AAB5-2EDC17B52DD9}"/>
              </a:ext>
            </a:extLst>
          </p:cNvPr>
          <p:cNvSpPr/>
          <p:nvPr/>
        </p:nvSpPr>
        <p:spPr>
          <a:xfrm>
            <a:off x="8153400" y="3429000"/>
            <a:ext cx="1243013" cy="2786063"/>
          </a:xfrm>
          <a:custGeom>
            <a:avLst/>
            <a:gdLst>
              <a:gd name="connsiteX0" fmla="*/ 9525 w 1243013"/>
              <a:gd name="connsiteY0" fmla="*/ 0 h 2786063"/>
              <a:gd name="connsiteX1" fmla="*/ 1243013 w 1243013"/>
              <a:gd name="connsiteY1" fmla="*/ 0 h 2786063"/>
              <a:gd name="connsiteX2" fmla="*/ 1243013 w 1243013"/>
              <a:gd name="connsiteY2" fmla="*/ 733425 h 2786063"/>
              <a:gd name="connsiteX3" fmla="*/ 1042988 w 1243013"/>
              <a:gd name="connsiteY3" fmla="*/ 1881188 h 2786063"/>
              <a:gd name="connsiteX4" fmla="*/ 938213 w 1243013"/>
              <a:gd name="connsiteY4" fmla="*/ 2281238 h 2786063"/>
              <a:gd name="connsiteX5" fmla="*/ 833438 w 1243013"/>
              <a:gd name="connsiteY5" fmla="*/ 2566988 h 2786063"/>
              <a:gd name="connsiteX6" fmla="*/ 771525 w 1243013"/>
              <a:gd name="connsiteY6" fmla="*/ 2667000 h 2786063"/>
              <a:gd name="connsiteX7" fmla="*/ 709613 w 1243013"/>
              <a:gd name="connsiteY7" fmla="*/ 2747963 h 2786063"/>
              <a:gd name="connsiteX8" fmla="*/ 638175 w 1243013"/>
              <a:gd name="connsiteY8" fmla="*/ 2786063 h 2786063"/>
              <a:gd name="connsiteX9" fmla="*/ 523875 w 1243013"/>
              <a:gd name="connsiteY9" fmla="*/ 2733675 h 2786063"/>
              <a:gd name="connsiteX10" fmla="*/ 438150 w 1243013"/>
              <a:gd name="connsiteY10" fmla="*/ 2595563 h 2786063"/>
              <a:gd name="connsiteX11" fmla="*/ 376238 w 1243013"/>
              <a:gd name="connsiteY11" fmla="*/ 2443163 h 2786063"/>
              <a:gd name="connsiteX12" fmla="*/ 266700 w 1243013"/>
              <a:gd name="connsiteY12" fmla="*/ 2133600 h 2786063"/>
              <a:gd name="connsiteX13" fmla="*/ 109538 w 1243013"/>
              <a:gd name="connsiteY13" fmla="*/ 1428750 h 2786063"/>
              <a:gd name="connsiteX14" fmla="*/ 0 w 1243013"/>
              <a:gd name="connsiteY14" fmla="*/ 704850 h 2786063"/>
              <a:gd name="connsiteX15" fmla="*/ 9525 w 1243013"/>
              <a:gd name="connsiteY15" fmla="*/ 0 h 278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43013" h="2786063">
                <a:moveTo>
                  <a:pt x="9525" y="0"/>
                </a:moveTo>
                <a:lnTo>
                  <a:pt x="1243013" y="0"/>
                </a:lnTo>
                <a:lnTo>
                  <a:pt x="1243013" y="733425"/>
                </a:lnTo>
                <a:lnTo>
                  <a:pt x="1042988" y="1881188"/>
                </a:lnTo>
                <a:lnTo>
                  <a:pt x="938213" y="2281238"/>
                </a:lnTo>
                <a:lnTo>
                  <a:pt x="833438" y="2566988"/>
                </a:lnTo>
                <a:lnTo>
                  <a:pt x="771525" y="2667000"/>
                </a:lnTo>
                <a:lnTo>
                  <a:pt x="709613" y="2747963"/>
                </a:lnTo>
                <a:lnTo>
                  <a:pt x="638175" y="2786063"/>
                </a:lnTo>
                <a:lnTo>
                  <a:pt x="523875" y="2733675"/>
                </a:lnTo>
                <a:lnTo>
                  <a:pt x="438150" y="2595563"/>
                </a:lnTo>
                <a:lnTo>
                  <a:pt x="376238" y="2443163"/>
                </a:lnTo>
                <a:lnTo>
                  <a:pt x="266700" y="2133600"/>
                </a:lnTo>
                <a:lnTo>
                  <a:pt x="109538" y="1428750"/>
                </a:lnTo>
                <a:lnTo>
                  <a:pt x="0" y="704850"/>
                </a:lnTo>
                <a:lnTo>
                  <a:pt x="9525" y="0"/>
                </a:lnTo>
                <a:close/>
              </a:path>
            </a:pathLst>
          </a:custGeom>
          <a:solidFill>
            <a:srgbClr val="CD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217207-7E79-4212-A848-36BCFCF4BA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846733-28AA-40BC-ACF1-11DBE1B85F9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921921">
            <a:off x="7816687" y="4278651"/>
            <a:ext cx="1741560" cy="87078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71E47D-9120-4CFC-992B-1A68ED0AC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4570124" cy="406399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Template DNA to be amplified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air of DNA primers 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NA polymeras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NTP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Buffer to maintain pH and provide Mg</a:t>
            </a:r>
            <a:r>
              <a:rPr lang="en-US" baseline="30000" dirty="0"/>
              <a:t>2+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136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216201" y="164803"/>
          <a:ext cx="1511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36" name="Object 1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16201" y="164803"/>
                        <a:ext cx="1511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60F13E-A90A-4587-8DC4-EA00649A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/>
          <a:lstStyle/>
          <a:p>
            <a:r>
              <a:rPr lang="en-US" dirty="0"/>
              <a:t>What goes in a reaction</a:t>
            </a:r>
          </a:p>
        </p:txBody>
      </p:sp>
      <p:grpSp>
        <p:nvGrpSpPr>
          <p:cNvPr id="4" name="Group 203"/>
          <p:cNvGrpSpPr/>
          <p:nvPr/>
        </p:nvGrpSpPr>
        <p:grpSpPr>
          <a:xfrm>
            <a:off x="8094081" y="3547152"/>
            <a:ext cx="1364710" cy="693767"/>
            <a:chOff x="5830653" y="2364189"/>
            <a:chExt cx="3392427" cy="728457"/>
          </a:xfrm>
        </p:grpSpPr>
        <p:cxnSp>
          <p:nvCxnSpPr>
            <p:cNvPr id="205" name="Straight Connector 204"/>
            <p:cNvCxnSpPr>
              <a:cxnSpLocks/>
            </p:cNvCxnSpPr>
            <p:nvPr/>
          </p:nvCxnSpPr>
          <p:spPr bwMode="auto">
            <a:xfrm>
              <a:off x="6415136" y="2674957"/>
              <a:ext cx="876866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FCAF2D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206" name="Straight Connector 205"/>
            <p:cNvCxnSpPr>
              <a:cxnSpLocks/>
            </p:cNvCxnSpPr>
            <p:nvPr/>
          </p:nvCxnSpPr>
          <p:spPr bwMode="auto">
            <a:xfrm flipH="1">
              <a:off x="7813339" y="2797781"/>
              <a:ext cx="835307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06C245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sp>
          <p:nvSpPr>
            <p:cNvPr id="207" name="Rectangle 206"/>
            <p:cNvSpPr/>
            <p:nvPr/>
          </p:nvSpPr>
          <p:spPr>
            <a:xfrm>
              <a:off x="5830653" y="2364189"/>
              <a:ext cx="2088824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FWD primer</a:t>
              </a: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7201999" y="2841855"/>
              <a:ext cx="2021081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REV primer</a:t>
              </a:r>
            </a:p>
          </p:txBody>
        </p:sp>
      </p:grp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8395235" y="4399847"/>
            <a:ext cx="787838" cy="1478578"/>
            <a:chOff x="-941" y="2616"/>
            <a:chExt cx="7642" cy="1730"/>
          </a:xfrm>
        </p:grpSpPr>
        <p:sp>
          <p:nvSpPr>
            <p:cNvPr id="214" name="Text Box 7"/>
            <p:cNvSpPr txBox="1">
              <a:spLocks noChangeArrowheads="1"/>
            </p:cNvSpPr>
            <p:nvPr/>
          </p:nvSpPr>
          <p:spPr bwMode="auto">
            <a:xfrm>
              <a:off x="1296" y="355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5" name="Text Box 8"/>
            <p:cNvSpPr txBox="1">
              <a:spLocks noChangeArrowheads="1"/>
            </p:cNvSpPr>
            <p:nvPr/>
          </p:nvSpPr>
          <p:spPr bwMode="auto">
            <a:xfrm>
              <a:off x="528" y="384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6" name="Text Box 9"/>
            <p:cNvSpPr txBox="1">
              <a:spLocks noChangeArrowheads="1"/>
            </p:cNvSpPr>
            <p:nvPr/>
          </p:nvSpPr>
          <p:spPr bwMode="auto">
            <a:xfrm rot="3862757">
              <a:off x="302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7" name="Text Box 10"/>
            <p:cNvSpPr txBox="1">
              <a:spLocks noChangeArrowheads="1"/>
            </p:cNvSpPr>
            <p:nvPr/>
          </p:nvSpPr>
          <p:spPr bwMode="auto">
            <a:xfrm rot="20681752">
              <a:off x="3504" y="378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8" name="Text Box 11"/>
            <p:cNvSpPr txBox="1">
              <a:spLocks noChangeArrowheads="1"/>
            </p:cNvSpPr>
            <p:nvPr/>
          </p:nvSpPr>
          <p:spPr bwMode="auto">
            <a:xfrm>
              <a:off x="4944" y="345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9" name="Text Box 12"/>
            <p:cNvSpPr txBox="1">
              <a:spLocks noChangeArrowheads="1"/>
            </p:cNvSpPr>
            <p:nvPr/>
          </p:nvSpPr>
          <p:spPr bwMode="auto">
            <a:xfrm rot="1635410">
              <a:off x="52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0" name="Text Box 13"/>
            <p:cNvSpPr txBox="1">
              <a:spLocks noChangeArrowheads="1"/>
            </p:cNvSpPr>
            <p:nvPr/>
          </p:nvSpPr>
          <p:spPr bwMode="auto">
            <a:xfrm rot="12072224">
              <a:off x="1776" y="382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1" name="Text Box 14"/>
            <p:cNvSpPr txBox="1">
              <a:spLocks noChangeArrowheads="1"/>
            </p:cNvSpPr>
            <p:nvPr/>
          </p:nvSpPr>
          <p:spPr bwMode="auto">
            <a:xfrm>
              <a:off x="2544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2" name="Text Box 15"/>
            <p:cNvSpPr txBox="1">
              <a:spLocks noChangeArrowheads="1"/>
            </p:cNvSpPr>
            <p:nvPr/>
          </p:nvSpPr>
          <p:spPr bwMode="auto">
            <a:xfrm rot="19945924">
              <a:off x="4752" y="37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3" name="Text Box 16"/>
            <p:cNvSpPr txBox="1">
              <a:spLocks noChangeArrowheads="1"/>
            </p:cNvSpPr>
            <p:nvPr/>
          </p:nvSpPr>
          <p:spPr bwMode="auto">
            <a:xfrm rot="17284779">
              <a:off x="2064" y="2155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4" name="Text Box 17"/>
            <p:cNvSpPr txBox="1">
              <a:spLocks noChangeArrowheads="1"/>
            </p:cNvSpPr>
            <p:nvPr/>
          </p:nvSpPr>
          <p:spPr bwMode="auto">
            <a:xfrm rot="20750909">
              <a:off x="288" y="296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5" name="Text Box 18"/>
            <p:cNvSpPr txBox="1">
              <a:spLocks noChangeArrowheads="1"/>
            </p:cNvSpPr>
            <p:nvPr/>
          </p:nvSpPr>
          <p:spPr bwMode="auto">
            <a:xfrm rot="2747743">
              <a:off x="192" y="2491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26" name="Text Box 19"/>
            <p:cNvSpPr txBox="1">
              <a:spLocks noChangeArrowheads="1"/>
            </p:cNvSpPr>
            <p:nvPr/>
          </p:nvSpPr>
          <p:spPr bwMode="auto">
            <a:xfrm rot="16452938">
              <a:off x="398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7" name="Text Box 21"/>
            <p:cNvSpPr txBox="1">
              <a:spLocks noChangeArrowheads="1"/>
            </p:cNvSpPr>
            <p:nvPr/>
          </p:nvSpPr>
          <p:spPr bwMode="auto">
            <a:xfrm>
              <a:off x="4560" y="331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8" name="Text Box 22"/>
            <p:cNvSpPr txBox="1">
              <a:spLocks noChangeArrowheads="1"/>
            </p:cNvSpPr>
            <p:nvPr/>
          </p:nvSpPr>
          <p:spPr bwMode="auto">
            <a:xfrm rot="2888671">
              <a:off x="3168" y="2876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29" name="Text Box 37"/>
            <p:cNvSpPr txBox="1">
              <a:spLocks noChangeArrowheads="1"/>
            </p:cNvSpPr>
            <p:nvPr/>
          </p:nvSpPr>
          <p:spPr bwMode="auto">
            <a:xfrm rot="21202516">
              <a:off x="16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0" name="Text Box 38"/>
            <p:cNvSpPr txBox="1">
              <a:spLocks noChangeArrowheads="1"/>
            </p:cNvSpPr>
            <p:nvPr/>
          </p:nvSpPr>
          <p:spPr bwMode="auto">
            <a:xfrm>
              <a:off x="5280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1" name="Text Box 40"/>
            <p:cNvSpPr txBox="1">
              <a:spLocks noChangeArrowheads="1"/>
            </p:cNvSpPr>
            <p:nvPr/>
          </p:nvSpPr>
          <p:spPr bwMode="auto">
            <a:xfrm>
              <a:off x="4224" y="38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2" name="Text Box 41"/>
            <p:cNvSpPr txBox="1">
              <a:spLocks noChangeArrowheads="1"/>
            </p:cNvSpPr>
            <p:nvPr/>
          </p:nvSpPr>
          <p:spPr bwMode="auto">
            <a:xfrm rot="6591755">
              <a:off x="3408" y="2204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3" name="Text Box 42"/>
            <p:cNvSpPr txBox="1">
              <a:spLocks noChangeArrowheads="1"/>
            </p:cNvSpPr>
            <p:nvPr/>
          </p:nvSpPr>
          <p:spPr bwMode="auto">
            <a:xfrm>
              <a:off x="2160" y="36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4" name="Text Box 43"/>
            <p:cNvSpPr txBox="1">
              <a:spLocks noChangeArrowheads="1"/>
            </p:cNvSpPr>
            <p:nvPr/>
          </p:nvSpPr>
          <p:spPr bwMode="auto">
            <a:xfrm rot="1029880">
              <a:off x="912" y="35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5" name="Text Box 44"/>
            <p:cNvSpPr txBox="1">
              <a:spLocks noChangeArrowheads="1"/>
            </p:cNvSpPr>
            <p:nvPr/>
          </p:nvSpPr>
          <p:spPr bwMode="auto">
            <a:xfrm rot="2623405">
              <a:off x="3936" y="368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6" name="Text Box 45"/>
            <p:cNvSpPr txBox="1">
              <a:spLocks noChangeArrowheads="1"/>
            </p:cNvSpPr>
            <p:nvPr/>
          </p:nvSpPr>
          <p:spPr bwMode="auto">
            <a:xfrm rot="13997953">
              <a:off x="5232" y="148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7" name="Text Box 46"/>
            <p:cNvSpPr txBox="1">
              <a:spLocks noChangeArrowheads="1"/>
            </p:cNvSpPr>
            <p:nvPr/>
          </p:nvSpPr>
          <p:spPr bwMode="auto">
            <a:xfrm rot="2000777">
              <a:off x="384" y="267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8" name="Text Box 47"/>
            <p:cNvSpPr txBox="1">
              <a:spLocks noChangeArrowheads="1"/>
            </p:cNvSpPr>
            <p:nvPr/>
          </p:nvSpPr>
          <p:spPr bwMode="auto">
            <a:xfrm>
              <a:off x="2784" y="369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9" name="Text Box 48"/>
            <p:cNvSpPr txBox="1">
              <a:spLocks noChangeArrowheads="1"/>
            </p:cNvSpPr>
            <p:nvPr/>
          </p:nvSpPr>
          <p:spPr bwMode="auto">
            <a:xfrm>
              <a:off x="2112" y="40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0" name="Text Box 49"/>
            <p:cNvSpPr txBox="1">
              <a:spLocks noChangeArrowheads="1"/>
            </p:cNvSpPr>
            <p:nvPr/>
          </p:nvSpPr>
          <p:spPr bwMode="auto">
            <a:xfrm>
              <a:off x="768" y="321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1" name="Text Box 50"/>
            <p:cNvSpPr txBox="1">
              <a:spLocks noChangeArrowheads="1"/>
            </p:cNvSpPr>
            <p:nvPr/>
          </p:nvSpPr>
          <p:spPr bwMode="auto">
            <a:xfrm rot="1729980">
              <a:off x="2544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</p:grpSp>
      <p:sp>
        <p:nvSpPr>
          <p:cNvPr id="6" name="Right Bracket 5"/>
          <p:cNvSpPr/>
          <p:nvPr/>
        </p:nvSpPr>
        <p:spPr bwMode="auto">
          <a:xfrm>
            <a:off x="4400452" y="2778822"/>
            <a:ext cx="213895" cy="1701372"/>
          </a:xfrm>
          <a:prstGeom prst="rightBracket">
            <a:avLst/>
          </a:prstGeom>
          <a:solidFill>
            <a:schemeClr val="bg1"/>
          </a:solidFill>
          <a:ln w="3810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5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EC83C1-9354-47B4-B4CD-35367E9E9432}"/>
              </a:ext>
            </a:extLst>
          </p:cNvPr>
          <p:cNvSpPr/>
          <p:nvPr/>
        </p:nvSpPr>
        <p:spPr>
          <a:xfrm>
            <a:off x="4753080" y="3424535"/>
            <a:ext cx="2159784" cy="385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CR Master Mix</a:t>
            </a:r>
            <a:endParaRPr kumimoji="0" lang="en-US" sz="190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116" name="Oval 113">
            <a:extLst>
              <a:ext uri="{FF2B5EF4-FFF2-40B4-BE49-F238E27FC236}">
                <a16:creationId xmlns:a16="http://schemas.microsoft.com/office/drawing/2014/main" id="{4C6A7B23-00ED-4F6D-A6B5-EF1BD3C54A8E}"/>
              </a:ext>
            </a:extLst>
          </p:cNvPr>
          <p:cNvSpPr/>
          <p:nvPr/>
        </p:nvSpPr>
        <p:spPr>
          <a:xfrm>
            <a:off x="8488329" y="4480193"/>
            <a:ext cx="548250" cy="332693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29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" presetClass="entr" presetSubtype="1" decel="2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" presetClass="entr" presetSubtype="1" decel="2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" grpId="0" animBg="1"/>
      <p:bldP spid="9" grpId="0"/>
      <p:bldP spid="1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5DBEE06-4F02-46BA-AAB5-2EDC17B52DD9}"/>
              </a:ext>
            </a:extLst>
          </p:cNvPr>
          <p:cNvSpPr/>
          <p:nvPr/>
        </p:nvSpPr>
        <p:spPr>
          <a:xfrm>
            <a:off x="8153400" y="3429000"/>
            <a:ext cx="1243013" cy="2786063"/>
          </a:xfrm>
          <a:custGeom>
            <a:avLst/>
            <a:gdLst>
              <a:gd name="connsiteX0" fmla="*/ 9525 w 1243013"/>
              <a:gd name="connsiteY0" fmla="*/ 0 h 2786063"/>
              <a:gd name="connsiteX1" fmla="*/ 1243013 w 1243013"/>
              <a:gd name="connsiteY1" fmla="*/ 0 h 2786063"/>
              <a:gd name="connsiteX2" fmla="*/ 1243013 w 1243013"/>
              <a:gd name="connsiteY2" fmla="*/ 733425 h 2786063"/>
              <a:gd name="connsiteX3" fmla="*/ 1042988 w 1243013"/>
              <a:gd name="connsiteY3" fmla="*/ 1881188 h 2786063"/>
              <a:gd name="connsiteX4" fmla="*/ 938213 w 1243013"/>
              <a:gd name="connsiteY4" fmla="*/ 2281238 h 2786063"/>
              <a:gd name="connsiteX5" fmla="*/ 833438 w 1243013"/>
              <a:gd name="connsiteY5" fmla="*/ 2566988 h 2786063"/>
              <a:gd name="connsiteX6" fmla="*/ 771525 w 1243013"/>
              <a:gd name="connsiteY6" fmla="*/ 2667000 h 2786063"/>
              <a:gd name="connsiteX7" fmla="*/ 709613 w 1243013"/>
              <a:gd name="connsiteY7" fmla="*/ 2747963 h 2786063"/>
              <a:gd name="connsiteX8" fmla="*/ 638175 w 1243013"/>
              <a:gd name="connsiteY8" fmla="*/ 2786063 h 2786063"/>
              <a:gd name="connsiteX9" fmla="*/ 523875 w 1243013"/>
              <a:gd name="connsiteY9" fmla="*/ 2733675 h 2786063"/>
              <a:gd name="connsiteX10" fmla="*/ 438150 w 1243013"/>
              <a:gd name="connsiteY10" fmla="*/ 2595563 h 2786063"/>
              <a:gd name="connsiteX11" fmla="*/ 376238 w 1243013"/>
              <a:gd name="connsiteY11" fmla="*/ 2443163 h 2786063"/>
              <a:gd name="connsiteX12" fmla="*/ 266700 w 1243013"/>
              <a:gd name="connsiteY12" fmla="*/ 2133600 h 2786063"/>
              <a:gd name="connsiteX13" fmla="*/ 109538 w 1243013"/>
              <a:gd name="connsiteY13" fmla="*/ 1428750 h 2786063"/>
              <a:gd name="connsiteX14" fmla="*/ 0 w 1243013"/>
              <a:gd name="connsiteY14" fmla="*/ 704850 h 2786063"/>
              <a:gd name="connsiteX15" fmla="*/ 9525 w 1243013"/>
              <a:gd name="connsiteY15" fmla="*/ 0 h 2786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43013" h="2786063">
                <a:moveTo>
                  <a:pt x="9525" y="0"/>
                </a:moveTo>
                <a:lnTo>
                  <a:pt x="1243013" y="0"/>
                </a:lnTo>
                <a:lnTo>
                  <a:pt x="1243013" y="733425"/>
                </a:lnTo>
                <a:lnTo>
                  <a:pt x="1042988" y="1881188"/>
                </a:lnTo>
                <a:lnTo>
                  <a:pt x="938213" y="2281238"/>
                </a:lnTo>
                <a:lnTo>
                  <a:pt x="833438" y="2566988"/>
                </a:lnTo>
                <a:lnTo>
                  <a:pt x="771525" y="2667000"/>
                </a:lnTo>
                <a:lnTo>
                  <a:pt x="709613" y="2747963"/>
                </a:lnTo>
                <a:lnTo>
                  <a:pt x="638175" y="2786063"/>
                </a:lnTo>
                <a:lnTo>
                  <a:pt x="523875" y="2733675"/>
                </a:lnTo>
                <a:lnTo>
                  <a:pt x="438150" y="2595563"/>
                </a:lnTo>
                <a:lnTo>
                  <a:pt x="376238" y="2443163"/>
                </a:lnTo>
                <a:lnTo>
                  <a:pt x="266700" y="2133600"/>
                </a:lnTo>
                <a:lnTo>
                  <a:pt x="109538" y="1428750"/>
                </a:lnTo>
                <a:lnTo>
                  <a:pt x="0" y="704850"/>
                </a:lnTo>
                <a:lnTo>
                  <a:pt x="9525" y="0"/>
                </a:lnTo>
                <a:close/>
              </a:path>
            </a:pathLst>
          </a:custGeom>
          <a:solidFill>
            <a:srgbClr val="CDFB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217207-7E79-4212-A848-36BCFCF4BA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846733-28AA-40BC-ACF1-11DBE1B85F9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921921">
            <a:off x="7816687" y="4278651"/>
            <a:ext cx="1741560" cy="87078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471E47D-9120-4CFC-992B-1A68ED0ACD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6009640" cy="4063999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Template DNA		3 µl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air of DNA primers  	12.5 µl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PCR Master mix		12.5 µl</a:t>
            </a:r>
          </a:p>
          <a:p>
            <a:endParaRPr lang="en-US" dirty="0"/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136" name="Object 1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216201" y="164803"/>
          <a:ext cx="1511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36" name="Object 13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216201" y="164803"/>
                        <a:ext cx="1511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60F13E-A90A-4587-8DC4-EA00649A2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/>
          <a:lstStyle/>
          <a:p>
            <a:r>
              <a:rPr lang="en-US" dirty="0"/>
              <a:t>What goes in a reaction</a:t>
            </a:r>
          </a:p>
        </p:txBody>
      </p:sp>
      <p:grpSp>
        <p:nvGrpSpPr>
          <p:cNvPr id="4" name="Group 203"/>
          <p:cNvGrpSpPr/>
          <p:nvPr/>
        </p:nvGrpSpPr>
        <p:grpSpPr>
          <a:xfrm>
            <a:off x="8094081" y="3547152"/>
            <a:ext cx="1364710" cy="693767"/>
            <a:chOff x="5830653" y="2364189"/>
            <a:chExt cx="3392427" cy="728457"/>
          </a:xfrm>
        </p:grpSpPr>
        <p:cxnSp>
          <p:nvCxnSpPr>
            <p:cNvPr id="205" name="Straight Connector 204"/>
            <p:cNvCxnSpPr>
              <a:cxnSpLocks/>
            </p:cNvCxnSpPr>
            <p:nvPr/>
          </p:nvCxnSpPr>
          <p:spPr bwMode="auto">
            <a:xfrm>
              <a:off x="6415136" y="2674957"/>
              <a:ext cx="876866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FCAF2D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cxnSp>
          <p:nvCxnSpPr>
            <p:cNvPr id="206" name="Straight Connector 205"/>
            <p:cNvCxnSpPr>
              <a:cxnSpLocks/>
            </p:cNvCxnSpPr>
            <p:nvPr/>
          </p:nvCxnSpPr>
          <p:spPr bwMode="auto">
            <a:xfrm flipH="1">
              <a:off x="7813339" y="2797781"/>
              <a:ext cx="835307" cy="0"/>
            </a:xfrm>
            <a:prstGeom prst="line">
              <a:avLst/>
            </a:prstGeom>
            <a:solidFill>
              <a:schemeClr val="accent1"/>
            </a:solidFill>
            <a:ln w="25400" cap="flat" cmpd="sng" algn="ctr">
              <a:solidFill>
                <a:srgbClr val="06C245"/>
              </a:solidFill>
              <a:prstDash val="solid"/>
              <a:round/>
              <a:headEnd type="none" w="med" len="med"/>
              <a:tailEnd type="triangle" w="lg" len="med"/>
            </a:ln>
            <a:effectLst/>
          </p:spPr>
        </p:cxnSp>
        <p:sp>
          <p:nvSpPr>
            <p:cNvPr id="207" name="Rectangle 206"/>
            <p:cNvSpPr/>
            <p:nvPr/>
          </p:nvSpPr>
          <p:spPr>
            <a:xfrm>
              <a:off x="5830653" y="2364189"/>
              <a:ext cx="2088824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FWD primer</a:t>
              </a: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7201999" y="2841855"/>
              <a:ext cx="2021081" cy="25079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52" b="0" i="0" u="none" strike="noStrike" kern="1200" cap="none" spc="0" normalizeH="0" baseline="0" noProof="0" dirty="0">
                  <a:ln>
                    <a:noFill/>
                  </a:ln>
                  <a:solidFill>
                    <a:srgbClr val="06367D"/>
                  </a:solidFill>
                  <a:effectLst/>
                  <a:uLnTx/>
                  <a:uFillTx/>
                  <a:latin typeface="Helvetica" panose="020B0604020202020204" pitchFamily="34" charset="0"/>
                  <a:ea typeface="Segoe UI" pitchFamily="34" charset="0"/>
                  <a:cs typeface="Helvetica" panose="020B0604020202020204" pitchFamily="34" charset="0"/>
                </a:rPr>
                <a:t>REV primer</a:t>
              </a:r>
            </a:p>
          </p:txBody>
        </p:sp>
      </p:grp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8395235" y="4399847"/>
            <a:ext cx="787838" cy="1478578"/>
            <a:chOff x="-941" y="2616"/>
            <a:chExt cx="7642" cy="1730"/>
          </a:xfrm>
        </p:grpSpPr>
        <p:sp>
          <p:nvSpPr>
            <p:cNvPr id="214" name="Text Box 7"/>
            <p:cNvSpPr txBox="1">
              <a:spLocks noChangeArrowheads="1"/>
            </p:cNvSpPr>
            <p:nvPr/>
          </p:nvSpPr>
          <p:spPr bwMode="auto">
            <a:xfrm>
              <a:off x="1296" y="355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5" name="Text Box 8"/>
            <p:cNvSpPr txBox="1">
              <a:spLocks noChangeArrowheads="1"/>
            </p:cNvSpPr>
            <p:nvPr/>
          </p:nvSpPr>
          <p:spPr bwMode="auto">
            <a:xfrm>
              <a:off x="528" y="384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6" name="Text Box 9"/>
            <p:cNvSpPr txBox="1">
              <a:spLocks noChangeArrowheads="1"/>
            </p:cNvSpPr>
            <p:nvPr/>
          </p:nvSpPr>
          <p:spPr bwMode="auto">
            <a:xfrm rot="3862757">
              <a:off x="302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7" name="Text Box 10"/>
            <p:cNvSpPr txBox="1">
              <a:spLocks noChangeArrowheads="1"/>
            </p:cNvSpPr>
            <p:nvPr/>
          </p:nvSpPr>
          <p:spPr bwMode="auto">
            <a:xfrm rot="20681752">
              <a:off x="3504" y="378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8" name="Text Box 11"/>
            <p:cNvSpPr txBox="1">
              <a:spLocks noChangeArrowheads="1"/>
            </p:cNvSpPr>
            <p:nvPr/>
          </p:nvSpPr>
          <p:spPr bwMode="auto">
            <a:xfrm>
              <a:off x="4944" y="345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19" name="Text Box 12"/>
            <p:cNvSpPr txBox="1">
              <a:spLocks noChangeArrowheads="1"/>
            </p:cNvSpPr>
            <p:nvPr/>
          </p:nvSpPr>
          <p:spPr bwMode="auto">
            <a:xfrm rot="1635410">
              <a:off x="52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0" name="Text Box 13"/>
            <p:cNvSpPr txBox="1">
              <a:spLocks noChangeArrowheads="1"/>
            </p:cNvSpPr>
            <p:nvPr/>
          </p:nvSpPr>
          <p:spPr bwMode="auto">
            <a:xfrm rot="12072224">
              <a:off x="1776" y="382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A</a:t>
              </a:r>
            </a:p>
          </p:txBody>
        </p:sp>
        <p:sp>
          <p:nvSpPr>
            <p:cNvPr id="221" name="Text Box 14"/>
            <p:cNvSpPr txBox="1">
              <a:spLocks noChangeArrowheads="1"/>
            </p:cNvSpPr>
            <p:nvPr/>
          </p:nvSpPr>
          <p:spPr bwMode="auto">
            <a:xfrm>
              <a:off x="2544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2" name="Text Box 15"/>
            <p:cNvSpPr txBox="1">
              <a:spLocks noChangeArrowheads="1"/>
            </p:cNvSpPr>
            <p:nvPr/>
          </p:nvSpPr>
          <p:spPr bwMode="auto">
            <a:xfrm rot="19945924">
              <a:off x="4752" y="37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3" name="Text Box 16"/>
            <p:cNvSpPr txBox="1">
              <a:spLocks noChangeArrowheads="1"/>
            </p:cNvSpPr>
            <p:nvPr/>
          </p:nvSpPr>
          <p:spPr bwMode="auto">
            <a:xfrm rot="17284779">
              <a:off x="2064" y="2155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4" name="Text Box 17"/>
            <p:cNvSpPr txBox="1">
              <a:spLocks noChangeArrowheads="1"/>
            </p:cNvSpPr>
            <p:nvPr/>
          </p:nvSpPr>
          <p:spPr bwMode="auto">
            <a:xfrm rot="20750909">
              <a:off x="288" y="296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5" name="Text Box 18"/>
            <p:cNvSpPr txBox="1">
              <a:spLocks noChangeArrowheads="1"/>
            </p:cNvSpPr>
            <p:nvPr/>
          </p:nvSpPr>
          <p:spPr bwMode="auto">
            <a:xfrm rot="2747743">
              <a:off x="192" y="2491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26" name="Text Box 19"/>
            <p:cNvSpPr txBox="1">
              <a:spLocks noChangeArrowheads="1"/>
            </p:cNvSpPr>
            <p:nvPr/>
          </p:nvSpPr>
          <p:spPr bwMode="auto">
            <a:xfrm rot="16452938">
              <a:off x="3984" y="220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7" name="Text Box 21"/>
            <p:cNvSpPr txBox="1">
              <a:spLocks noChangeArrowheads="1"/>
            </p:cNvSpPr>
            <p:nvPr/>
          </p:nvSpPr>
          <p:spPr bwMode="auto">
            <a:xfrm>
              <a:off x="4560" y="331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T</a:t>
              </a:r>
            </a:p>
          </p:txBody>
        </p:sp>
        <p:sp>
          <p:nvSpPr>
            <p:cNvPr id="228" name="Text Box 22"/>
            <p:cNvSpPr txBox="1">
              <a:spLocks noChangeArrowheads="1"/>
            </p:cNvSpPr>
            <p:nvPr/>
          </p:nvSpPr>
          <p:spPr bwMode="auto">
            <a:xfrm rot="2888671">
              <a:off x="3168" y="2876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29" name="Text Box 37"/>
            <p:cNvSpPr txBox="1">
              <a:spLocks noChangeArrowheads="1"/>
            </p:cNvSpPr>
            <p:nvPr/>
          </p:nvSpPr>
          <p:spPr bwMode="auto">
            <a:xfrm rot="21202516">
              <a:off x="1632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0" name="Text Box 38"/>
            <p:cNvSpPr txBox="1">
              <a:spLocks noChangeArrowheads="1"/>
            </p:cNvSpPr>
            <p:nvPr/>
          </p:nvSpPr>
          <p:spPr bwMode="auto">
            <a:xfrm>
              <a:off x="5280" y="379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1" name="Text Box 40"/>
            <p:cNvSpPr txBox="1">
              <a:spLocks noChangeArrowheads="1"/>
            </p:cNvSpPr>
            <p:nvPr/>
          </p:nvSpPr>
          <p:spPr bwMode="auto">
            <a:xfrm>
              <a:off x="4224" y="38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2" name="Text Box 41"/>
            <p:cNvSpPr txBox="1">
              <a:spLocks noChangeArrowheads="1"/>
            </p:cNvSpPr>
            <p:nvPr/>
          </p:nvSpPr>
          <p:spPr bwMode="auto">
            <a:xfrm rot="6591755">
              <a:off x="3408" y="2204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3" name="Text Box 42"/>
            <p:cNvSpPr txBox="1">
              <a:spLocks noChangeArrowheads="1"/>
            </p:cNvSpPr>
            <p:nvPr/>
          </p:nvSpPr>
          <p:spPr bwMode="auto">
            <a:xfrm>
              <a:off x="2160" y="36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4" name="Text Box 43"/>
            <p:cNvSpPr txBox="1">
              <a:spLocks noChangeArrowheads="1"/>
            </p:cNvSpPr>
            <p:nvPr/>
          </p:nvSpPr>
          <p:spPr bwMode="auto">
            <a:xfrm rot="1029880">
              <a:off x="912" y="3588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C </a:t>
              </a:r>
            </a:p>
          </p:txBody>
        </p:sp>
        <p:sp>
          <p:nvSpPr>
            <p:cNvPr id="235" name="Text Box 44"/>
            <p:cNvSpPr txBox="1">
              <a:spLocks noChangeArrowheads="1"/>
            </p:cNvSpPr>
            <p:nvPr/>
          </p:nvSpPr>
          <p:spPr bwMode="auto">
            <a:xfrm rot="2623405">
              <a:off x="3936" y="3684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6" name="Text Box 45"/>
            <p:cNvSpPr txBox="1">
              <a:spLocks noChangeArrowheads="1"/>
            </p:cNvSpPr>
            <p:nvPr/>
          </p:nvSpPr>
          <p:spPr bwMode="auto">
            <a:xfrm rot="13997953">
              <a:off x="5232" y="1483"/>
              <a:ext cx="336" cy="2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 dirty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7" name="Text Box 46"/>
            <p:cNvSpPr txBox="1">
              <a:spLocks noChangeArrowheads="1"/>
            </p:cNvSpPr>
            <p:nvPr/>
          </p:nvSpPr>
          <p:spPr bwMode="auto">
            <a:xfrm rot="2000777">
              <a:off x="384" y="267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8" name="Text Box 47"/>
            <p:cNvSpPr txBox="1">
              <a:spLocks noChangeArrowheads="1"/>
            </p:cNvSpPr>
            <p:nvPr/>
          </p:nvSpPr>
          <p:spPr bwMode="auto">
            <a:xfrm>
              <a:off x="2784" y="369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39" name="Text Box 48"/>
            <p:cNvSpPr txBox="1">
              <a:spLocks noChangeArrowheads="1"/>
            </p:cNvSpPr>
            <p:nvPr/>
          </p:nvSpPr>
          <p:spPr bwMode="auto">
            <a:xfrm>
              <a:off x="2112" y="4032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0" name="Text Box 49"/>
            <p:cNvSpPr txBox="1">
              <a:spLocks noChangeArrowheads="1"/>
            </p:cNvSpPr>
            <p:nvPr/>
          </p:nvSpPr>
          <p:spPr bwMode="auto">
            <a:xfrm>
              <a:off x="768" y="3216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  <p:sp>
          <p:nvSpPr>
            <p:cNvPr id="241" name="Text Box 50"/>
            <p:cNvSpPr txBox="1">
              <a:spLocks noChangeArrowheads="1"/>
            </p:cNvSpPr>
            <p:nvPr/>
          </p:nvSpPr>
          <p:spPr bwMode="auto">
            <a:xfrm rot="1729980">
              <a:off x="2544" y="3300"/>
              <a:ext cx="336" cy="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43" b="0" i="0" u="none" strike="noStrike" kern="1200" cap="none" spc="0" normalizeH="0" baseline="0" noProof="0">
                  <a:ln>
                    <a:noFill/>
                  </a:ln>
                  <a:solidFill>
                    <a:srgbClr val="D0103A"/>
                  </a:solidFill>
                  <a:effectLst/>
                  <a:uLnTx/>
                  <a:uFillTx/>
                  <a:latin typeface="Arial" charset="0"/>
                  <a:ea typeface="+mn-ea"/>
                  <a:cs typeface="Arial"/>
                </a:rPr>
                <a:t>G</a:t>
              </a:r>
            </a:p>
          </p:txBody>
        </p:sp>
      </p:grpSp>
      <p:sp>
        <p:nvSpPr>
          <p:cNvPr id="116" name="Oval 113">
            <a:extLst>
              <a:ext uri="{FF2B5EF4-FFF2-40B4-BE49-F238E27FC236}">
                <a16:creationId xmlns:a16="http://schemas.microsoft.com/office/drawing/2014/main" id="{4C6A7B23-00ED-4F6D-A6B5-EF1BD3C54A8E}"/>
              </a:ext>
            </a:extLst>
          </p:cNvPr>
          <p:cNvSpPr/>
          <p:nvPr/>
        </p:nvSpPr>
        <p:spPr>
          <a:xfrm>
            <a:off x="8488329" y="4480193"/>
            <a:ext cx="548250" cy="332693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655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D05F9-4623-4737-93C1-FF9B1940F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CR protoco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99E65-6344-4469-BF7F-93C895757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9113" lvl="1" indent="-409575"/>
            <a:r>
              <a:rPr lang="en-US" sz="2400" dirty="0"/>
              <a:t>Initial Denaturation		94°C 	120 sec</a:t>
            </a:r>
            <a:endParaRPr lang="en-US" sz="1800" dirty="0"/>
          </a:p>
          <a:p>
            <a:pPr marL="519113" lvl="1" indent="-409575"/>
            <a:r>
              <a:rPr lang="en-US" sz="2400" dirty="0"/>
              <a:t>Denaturation			94°C	10 sec</a:t>
            </a:r>
            <a:endParaRPr lang="en-US" sz="1800" dirty="0"/>
          </a:p>
          <a:p>
            <a:pPr marL="519113" lvl="1" indent="-409575"/>
            <a:r>
              <a:rPr lang="en-US" sz="2400" dirty="0"/>
              <a:t>Annealing			58°C	15 sec</a:t>
            </a:r>
            <a:endParaRPr lang="en-US" sz="1800" dirty="0"/>
          </a:p>
          <a:p>
            <a:pPr marL="519113" lvl="1" indent="-409575"/>
            <a:r>
              <a:rPr lang="en-US" sz="2400" dirty="0"/>
              <a:t>Extension			72°C	40 sec</a:t>
            </a:r>
            <a:endParaRPr lang="en-US" sz="1800" dirty="0"/>
          </a:p>
          <a:p>
            <a:pPr marL="519113" lvl="1" indent="-409575"/>
            <a:r>
              <a:rPr lang="en-US" sz="2400" dirty="0"/>
              <a:t>Number of Cycles		30</a:t>
            </a:r>
            <a:endParaRPr lang="en-US" sz="1800" dirty="0"/>
          </a:p>
          <a:p>
            <a:pPr marL="519113" lvl="1" indent="-409575"/>
            <a:r>
              <a:rPr lang="en-US" sz="2400" dirty="0"/>
              <a:t>Final Extension			72°C	5 sec</a:t>
            </a:r>
            <a:endParaRPr lang="en-US" sz="1800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C5BE65-4FE1-4B19-84F1-F277671F15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211" y="1522509"/>
            <a:ext cx="3992187" cy="335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90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9" name="Picture 618">
            <a:extLst>
              <a:ext uri="{FF2B5EF4-FFF2-40B4-BE49-F238E27FC236}">
                <a16:creationId xmlns:a16="http://schemas.microsoft.com/office/drawing/2014/main" id="{923B3ADC-E7BA-4D18-8935-A9118401C3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838685" y="4871428"/>
            <a:ext cx="358497" cy="337572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ABE48-996A-49B0-8AB2-59FD17719E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510" y="1490374"/>
            <a:ext cx="1985785" cy="113852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)   94°C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dirty="0"/>
              <a:t>Denaturation</a:t>
            </a:r>
          </a:p>
        </p:txBody>
      </p:sp>
      <p:sp>
        <p:nvSpPr>
          <p:cNvPr id="309" name="Content Placeholder 2">
            <a:extLst>
              <a:ext uri="{FF2B5EF4-FFF2-40B4-BE49-F238E27FC236}">
                <a16:creationId xmlns:a16="http://schemas.microsoft.com/office/drawing/2014/main" id="{4449B919-5A1C-4197-AEE4-64B98D4AAA2D}"/>
              </a:ext>
            </a:extLst>
          </p:cNvPr>
          <p:cNvSpPr txBox="1">
            <a:spLocks/>
          </p:cNvSpPr>
          <p:nvPr/>
        </p:nvSpPr>
        <p:spPr>
          <a:xfrm>
            <a:off x="394369" y="3109804"/>
            <a:ext cx="1985785" cy="1138526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2)   50-65 °C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nnealing</a:t>
            </a:r>
          </a:p>
        </p:txBody>
      </p: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E8ABB6EE-6430-46FD-81FE-1A107D1C9462}"/>
              </a:ext>
            </a:extLst>
          </p:cNvPr>
          <p:cNvCxnSpPr>
            <a:cxnSpLocks/>
          </p:cNvCxnSpPr>
          <p:nvPr/>
        </p:nvCxnSpPr>
        <p:spPr>
          <a:xfrm>
            <a:off x="421640" y="2628900"/>
            <a:ext cx="294640" cy="0"/>
          </a:xfrm>
          <a:prstGeom prst="line">
            <a:avLst/>
          </a:prstGeom>
          <a:ln w="57150" cap="rnd">
            <a:solidFill>
              <a:srgbClr val="D01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709030F8-9892-483C-B64D-1C17FF9821C9}"/>
              </a:ext>
            </a:extLst>
          </p:cNvPr>
          <p:cNvCxnSpPr>
            <a:cxnSpLocks/>
          </p:cNvCxnSpPr>
          <p:nvPr/>
        </p:nvCxnSpPr>
        <p:spPr>
          <a:xfrm>
            <a:off x="421640" y="4274386"/>
            <a:ext cx="294640" cy="0"/>
          </a:xfrm>
          <a:prstGeom prst="line">
            <a:avLst/>
          </a:prstGeom>
          <a:ln w="57150" cap="rnd">
            <a:solidFill>
              <a:srgbClr val="D01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" name="Content Placeholder 2">
            <a:extLst>
              <a:ext uri="{FF2B5EF4-FFF2-40B4-BE49-F238E27FC236}">
                <a16:creationId xmlns:a16="http://schemas.microsoft.com/office/drawing/2014/main" id="{76F7666F-7EC0-4A0A-B6FC-7553D099C2AA}"/>
              </a:ext>
            </a:extLst>
          </p:cNvPr>
          <p:cNvSpPr txBox="1">
            <a:spLocks/>
          </p:cNvSpPr>
          <p:nvPr/>
        </p:nvSpPr>
        <p:spPr>
          <a:xfrm>
            <a:off x="394369" y="4903406"/>
            <a:ext cx="1985785" cy="1138526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3)   72 °C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xten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980DA-FE28-4B6F-BEAE-D22C0A1BB34B}"/>
              </a:ext>
            </a:extLst>
          </p:cNvPr>
          <p:cNvSpPr txBox="1"/>
          <p:nvPr/>
        </p:nvSpPr>
        <p:spPr>
          <a:xfrm>
            <a:off x="2740781" y="3391366"/>
            <a:ext cx="111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Primer 1</a:t>
            </a:r>
          </a:p>
        </p:txBody>
      </p:sp>
      <p:sp>
        <p:nvSpPr>
          <p:cNvPr id="675" name="TextBox 674">
            <a:extLst>
              <a:ext uri="{FF2B5EF4-FFF2-40B4-BE49-F238E27FC236}">
                <a16:creationId xmlns:a16="http://schemas.microsoft.com/office/drawing/2014/main" id="{5AAFA87A-4027-4C52-8F2A-CF97E7F48B3D}"/>
              </a:ext>
            </a:extLst>
          </p:cNvPr>
          <p:cNvSpPr txBox="1"/>
          <p:nvPr/>
        </p:nvSpPr>
        <p:spPr>
          <a:xfrm>
            <a:off x="10758242" y="5908955"/>
            <a:ext cx="1057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dNTPs</a:t>
            </a:r>
          </a:p>
        </p:txBody>
      </p:sp>
      <p:sp>
        <p:nvSpPr>
          <p:cNvPr id="676" name="TextBox 675">
            <a:extLst>
              <a:ext uri="{FF2B5EF4-FFF2-40B4-BE49-F238E27FC236}">
                <a16:creationId xmlns:a16="http://schemas.microsoft.com/office/drawing/2014/main" id="{DC740DCE-5BBA-4786-8159-D99411D64A3E}"/>
              </a:ext>
            </a:extLst>
          </p:cNvPr>
          <p:cNvSpPr txBox="1"/>
          <p:nvPr/>
        </p:nvSpPr>
        <p:spPr>
          <a:xfrm>
            <a:off x="2413375" y="4954204"/>
            <a:ext cx="13683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Taq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 polymerase</a:t>
            </a:r>
          </a:p>
        </p:txBody>
      </p:sp>
      <p:sp>
        <p:nvSpPr>
          <p:cNvPr id="678" name="Title 1">
            <a:extLst>
              <a:ext uri="{FF2B5EF4-FFF2-40B4-BE49-F238E27FC236}">
                <a16:creationId xmlns:a16="http://schemas.microsoft.com/office/drawing/2014/main" id="{2403DBCE-B412-468F-9CC9-31C6209C694E}"/>
              </a:ext>
            </a:extLst>
          </p:cNvPr>
          <p:cNvSpPr txBox="1">
            <a:spLocks/>
          </p:cNvSpPr>
          <p:nvPr/>
        </p:nvSpPr>
        <p:spPr>
          <a:xfrm>
            <a:off x="391160" y="472581"/>
            <a:ext cx="10515600" cy="823031"/>
          </a:xfrm>
          <a:prstGeom prst="rect">
            <a:avLst/>
          </a:prstGeom>
        </p:spPr>
        <p:txBody>
          <a:bodyPr vert="horz" wrap="square" lIns="91440" tIns="0" rIns="9144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rgbClr val="D0103A"/>
                </a:solidFill>
                <a:latin typeface="Helvetica"/>
                <a:ea typeface="+mj-ea"/>
                <a:cs typeface="Helvetica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D0103A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  <a:t>PCR: 3 steps to copy DNA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A497599-2CBE-4D40-B5F9-5F5040452100}"/>
              </a:ext>
            </a:extLst>
          </p:cNvPr>
          <p:cNvCxnSpPr/>
          <p:nvPr/>
        </p:nvCxnSpPr>
        <p:spPr>
          <a:xfrm flipH="1">
            <a:off x="3097220" y="2572369"/>
            <a:ext cx="8533852" cy="0"/>
          </a:xfrm>
          <a:prstGeom prst="line">
            <a:avLst/>
          </a:prstGeom>
          <a:ln w="38100" cap="rnd">
            <a:solidFill>
              <a:srgbClr val="0636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36FBEEB4-D8D8-4C42-B012-CAAC965C708E}"/>
              </a:ext>
            </a:extLst>
          </p:cNvPr>
          <p:cNvCxnSpPr/>
          <p:nvPr/>
        </p:nvCxnSpPr>
        <p:spPr>
          <a:xfrm flipH="1">
            <a:off x="3086648" y="4274386"/>
            <a:ext cx="8533852" cy="0"/>
          </a:xfrm>
          <a:prstGeom prst="line">
            <a:avLst/>
          </a:prstGeom>
          <a:ln w="38100" cap="rnd">
            <a:solidFill>
              <a:srgbClr val="0636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>
            <a:extLst>
              <a:ext uri="{FF2B5EF4-FFF2-40B4-BE49-F238E27FC236}">
                <a16:creationId xmlns:a16="http://schemas.microsoft.com/office/drawing/2014/main" id="{BFF4C9FF-82EB-4828-9CF0-3AD069E094FF}"/>
              </a:ext>
            </a:extLst>
          </p:cNvPr>
          <p:cNvSpPr txBox="1"/>
          <p:nvPr/>
        </p:nvSpPr>
        <p:spPr>
          <a:xfrm>
            <a:off x="9885274" y="3064648"/>
            <a:ext cx="111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D73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Primer 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197DBA3-303D-44FD-941B-03DDB3E3C499}"/>
              </a:ext>
            </a:extLst>
          </p:cNvPr>
          <p:cNvSpPr/>
          <p:nvPr/>
        </p:nvSpPr>
        <p:spPr>
          <a:xfrm>
            <a:off x="11815539" y="1133475"/>
            <a:ext cx="376461" cy="2805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7771D8D-505A-4815-8D3B-D37A4A920A80}"/>
              </a:ext>
            </a:extLst>
          </p:cNvPr>
          <p:cNvGrpSpPr/>
          <p:nvPr/>
        </p:nvGrpSpPr>
        <p:grpSpPr>
          <a:xfrm>
            <a:off x="4442875" y="1674991"/>
            <a:ext cx="5163640" cy="485434"/>
            <a:chOff x="3979596" y="1765608"/>
            <a:chExt cx="5961990" cy="560487"/>
          </a:xfrm>
        </p:grpSpPr>
        <p:pic>
          <p:nvPicPr>
            <p:cNvPr id="297" name="Picture 296">
              <a:extLst>
                <a:ext uri="{FF2B5EF4-FFF2-40B4-BE49-F238E27FC236}">
                  <a16:creationId xmlns:a16="http://schemas.microsoft.com/office/drawing/2014/main" id="{D37187C9-7787-4400-9C20-F6D430F132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551489" y="1929084"/>
              <a:ext cx="416338" cy="397011"/>
            </a:xfrm>
            <a:prstGeom prst="rect">
              <a:avLst/>
            </a:prstGeom>
          </p:spPr>
        </p:pic>
        <p:pic>
          <p:nvPicPr>
            <p:cNvPr id="298" name="Picture 297">
              <a:extLst>
                <a:ext uri="{FF2B5EF4-FFF2-40B4-BE49-F238E27FC236}">
                  <a16:creationId xmlns:a16="http://schemas.microsoft.com/office/drawing/2014/main" id="{F04A6357-3534-4CF7-A983-56F391FDE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24287" y="1765608"/>
              <a:ext cx="397011" cy="560487"/>
            </a:xfrm>
            <a:prstGeom prst="rect">
              <a:avLst/>
            </a:prstGeom>
          </p:spPr>
        </p:pic>
        <p:pic>
          <p:nvPicPr>
            <p:cNvPr id="299" name="Picture 298">
              <a:extLst>
                <a:ext uri="{FF2B5EF4-FFF2-40B4-BE49-F238E27FC236}">
                  <a16:creationId xmlns:a16="http://schemas.microsoft.com/office/drawing/2014/main" id="{CB1E8199-711A-441A-9693-479D5D6A6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258697" y="1936331"/>
              <a:ext cx="413924" cy="389764"/>
            </a:xfrm>
            <a:prstGeom prst="rect">
              <a:avLst/>
            </a:prstGeom>
          </p:spPr>
        </p:pic>
        <p:pic>
          <p:nvPicPr>
            <p:cNvPr id="300" name="Picture 299">
              <a:extLst>
                <a:ext uri="{FF2B5EF4-FFF2-40B4-BE49-F238E27FC236}">
                  <a16:creationId xmlns:a16="http://schemas.microsoft.com/office/drawing/2014/main" id="{6DD28208-38B6-4033-AE23-6D833B10D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887888" y="1929084"/>
              <a:ext cx="416338" cy="397011"/>
            </a:xfrm>
            <a:prstGeom prst="rect">
              <a:avLst/>
            </a:prstGeom>
          </p:spPr>
        </p:pic>
        <p:pic>
          <p:nvPicPr>
            <p:cNvPr id="301" name="Content Placeholder 4">
              <a:extLst>
                <a:ext uri="{FF2B5EF4-FFF2-40B4-BE49-F238E27FC236}">
                  <a16:creationId xmlns:a16="http://schemas.microsoft.com/office/drawing/2014/main" id="{351641FC-7EE5-47A9-9033-F4496A5B0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541353" y="1765608"/>
              <a:ext cx="400233" cy="560487"/>
            </a:xfrm>
            <a:prstGeom prst="rect">
              <a:avLst/>
            </a:prstGeom>
          </p:spPr>
        </p:pic>
        <p:pic>
          <p:nvPicPr>
            <p:cNvPr id="302" name="Picture 301">
              <a:extLst>
                <a:ext uri="{FF2B5EF4-FFF2-40B4-BE49-F238E27FC236}">
                  <a16:creationId xmlns:a16="http://schemas.microsoft.com/office/drawing/2014/main" id="{E3B3FB51-A95B-480F-B8B3-CF96DB721C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29081" y="1765608"/>
              <a:ext cx="397011" cy="560487"/>
            </a:xfrm>
            <a:prstGeom prst="rect">
              <a:avLst/>
            </a:prstGeom>
          </p:spPr>
        </p:pic>
        <p:pic>
          <p:nvPicPr>
            <p:cNvPr id="303" name="Picture 302">
              <a:extLst>
                <a:ext uri="{FF2B5EF4-FFF2-40B4-BE49-F238E27FC236}">
                  <a16:creationId xmlns:a16="http://schemas.microsoft.com/office/drawing/2014/main" id="{762B138A-DBF6-42F7-BF9A-F96412719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900432" y="1936331"/>
              <a:ext cx="413924" cy="389764"/>
            </a:xfrm>
            <a:prstGeom prst="rect">
              <a:avLst/>
            </a:prstGeom>
          </p:spPr>
        </p:pic>
        <p:pic>
          <p:nvPicPr>
            <p:cNvPr id="304" name="Picture 303">
              <a:extLst>
                <a:ext uri="{FF2B5EF4-FFF2-40B4-BE49-F238E27FC236}">
                  <a16:creationId xmlns:a16="http://schemas.microsoft.com/office/drawing/2014/main" id="{B4206999-3037-4AB0-8157-0AF8413F10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234417" y="1765608"/>
              <a:ext cx="397011" cy="560487"/>
            </a:xfrm>
            <a:prstGeom prst="rect">
              <a:avLst/>
            </a:prstGeom>
          </p:spPr>
        </p:pic>
        <p:pic>
          <p:nvPicPr>
            <p:cNvPr id="305" name="Picture 304">
              <a:extLst>
                <a:ext uri="{FF2B5EF4-FFF2-40B4-BE49-F238E27FC236}">
                  <a16:creationId xmlns:a16="http://schemas.microsoft.com/office/drawing/2014/main" id="{F519BD6A-DFAF-40E8-8FDC-357CB6D0C74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592682" y="1929084"/>
              <a:ext cx="416338" cy="397011"/>
            </a:xfrm>
            <a:prstGeom prst="rect">
              <a:avLst/>
            </a:prstGeom>
          </p:spPr>
        </p:pic>
        <p:pic>
          <p:nvPicPr>
            <p:cNvPr id="306" name="Picture 305">
              <a:extLst>
                <a:ext uri="{FF2B5EF4-FFF2-40B4-BE49-F238E27FC236}">
                  <a16:creationId xmlns:a16="http://schemas.microsoft.com/office/drawing/2014/main" id="{FBBBE7E7-D871-4B29-A208-C865DB2AF8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633875" y="1765608"/>
              <a:ext cx="397011" cy="560487"/>
            </a:xfrm>
            <a:prstGeom prst="rect">
              <a:avLst/>
            </a:prstGeom>
          </p:spPr>
        </p:pic>
        <p:pic>
          <p:nvPicPr>
            <p:cNvPr id="310" name="Picture 309">
              <a:extLst>
                <a:ext uri="{FF2B5EF4-FFF2-40B4-BE49-F238E27FC236}">
                  <a16:creationId xmlns:a16="http://schemas.microsoft.com/office/drawing/2014/main" id="{3F5E25EA-5F95-4955-855C-73DFE50969A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7346" y="1765608"/>
              <a:ext cx="397011" cy="560487"/>
            </a:xfrm>
            <a:prstGeom prst="rect">
              <a:avLst/>
            </a:prstGeom>
          </p:spPr>
        </p:pic>
        <p:pic>
          <p:nvPicPr>
            <p:cNvPr id="313" name="Picture 312">
              <a:extLst>
                <a:ext uri="{FF2B5EF4-FFF2-40B4-BE49-F238E27FC236}">
                  <a16:creationId xmlns:a16="http://schemas.microsoft.com/office/drawing/2014/main" id="{1AEE17EE-2F7B-48C3-9767-58DB3B47F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46153" y="1936331"/>
              <a:ext cx="413924" cy="389764"/>
            </a:xfrm>
            <a:prstGeom prst="rect">
              <a:avLst/>
            </a:prstGeom>
          </p:spPr>
        </p:pic>
        <p:pic>
          <p:nvPicPr>
            <p:cNvPr id="316" name="Content Placeholder 4">
              <a:extLst>
                <a:ext uri="{FF2B5EF4-FFF2-40B4-BE49-F238E27FC236}">
                  <a16:creationId xmlns:a16="http://schemas.microsoft.com/office/drawing/2014/main" id="{BB40CC2C-74B0-4AB7-A198-B96EB0A15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938403" y="1765608"/>
              <a:ext cx="400233" cy="560487"/>
            </a:xfrm>
            <a:prstGeom prst="rect">
              <a:avLst/>
            </a:prstGeom>
          </p:spPr>
        </p:pic>
        <p:pic>
          <p:nvPicPr>
            <p:cNvPr id="321" name="Content Placeholder 4">
              <a:extLst>
                <a:ext uri="{FF2B5EF4-FFF2-40B4-BE49-F238E27FC236}">
                  <a16:creationId xmlns:a16="http://schemas.microsoft.com/office/drawing/2014/main" id="{D77359FC-0E5F-43BD-8F5A-E2414158DA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3979596" y="1765608"/>
              <a:ext cx="400233" cy="560487"/>
            </a:xfrm>
            <a:prstGeom prst="rect">
              <a:avLst/>
            </a:prstGeom>
          </p:spPr>
        </p:pic>
        <p:pic>
          <p:nvPicPr>
            <p:cNvPr id="322" name="Picture 321">
              <a:extLst>
                <a:ext uri="{FF2B5EF4-FFF2-40B4-BE49-F238E27FC236}">
                  <a16:creationId xmlns:a16="http://schemas.microsoft.com/office/drawing/2014/main" id="{39E810A5-AC73-466C-A85B-CA92495BC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950947" y="1929083"/>
              <a:ext cx="416338" cy="397011"/>
            </a:xfrm>
            <a:prstGeom prst="rect">
              <a:avLst/>
            </a:prstGeom>
          </p:spPr>
        </p:pic>
        <p:pic>
          <p:nvPicPr>
            <p:cNvPr id="343" name="Content Placeholder 4">
              <a:extLst>
                <a:ext uri="{FF2B5EF4-FFF2-40B4-BE49-F238E27FC236}">
                  <a16:creationId xmlns:a16="http://schemas.microsoft.com/office/drawing/2014/main" id="{56863956-1634-43B4-A20E-FE57D9AD7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80138" y="1765608"/>
              <a:ext cx="400233" cy="560487"/>
            </a:xfrm>
            <a:prstGeom prst="rect">
              <a:avLst/>
            </a:prstGeom>
          </p:spPr>
        </p:pic>
        <p:pic>
          <p:nvPicPr>
            <p:cNvPr id="345" name="Picture 344">
              <a:extLst>
                <a:ext uri="{FF2B5EF4-FFF2-40B4-BE49-F238E27FC236}">
                  <a16:creationId xmlns:a16="http://schemas.microsoft.com/office/drawing/2014/main" id="{D86086B4-050B-4B45-BBE4-9B10D91EB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604418" y="1936331"/>
              <a:ext cx="413924" cy="389764"/>
            </a:xfrm>
            <a:prstGeom prst="rect">
              <a:avLst/>
            </a:prstGeom>
          </p:spPr>
        </p:pic>
        <p:pic>
          <p:nvPicPr>
            <p:cNvPr id="348" name="Picture 347">
              <a:extLst>
                <a:ext uri="{FF2B5EF4-FFF2-40B4-BE49-F238E27FC236}">
                  <a16:creationId xmlns:a16="http://schemas.microsoft.com/office/drawing/2014/main" id="{A7A9030D-DA5D-4E53-B1BC-5788D7339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299890" y="1936330"/>
              <a:ext cx="413924" cy="389764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01C6D23-0AE7-4159-8FAD-B4C491ECAF32}"/>
              </a:ext>
            </a:extLst>
          </p:cNvPr>
          <p:cNvGrpSpPr/>
          <p:nvPr/>
        </p:nvGrpSpPr>
        <p:grpSpPr>
          <a:xfrm>
            <a:off x="4384701" y="2689562"/>
            <a:ext cx="5177588" cy="485434"/>
            <a:chOff x="4384701" y="2689562"/>
            <a:chExt cx="5177588" cy="485434"/>
          </a:xfrm>
        </p:grpSpPr>
        <p:pic>
          <p:nvPicPr>
            <p:cNvPr id="369" name="Picture 368">
              <a:extLst>
                <a:ext uri="{FF2B5EF4-FFF2-40B4-BE49-F238E27FC236}">
                  <a16:creationId xmlns:a16="http://schemas.microsoft.com/office/drawing/2014/main" id="{167FBB09-4344-4EAA-B45C-16BFF8037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2689562"/>
              <a:ext cx="360588" cy="343849"/>
            </a:xfrm>
            <a:prstGeom prst="rect">
              <a:avLst/>
            </a:prstGeom>
          </p:spPr>
        </p:pic>
        <p:pic>
          <p:nvPicPr>
            <p:cNvPr id="371" name="Picture 370">
              <a:extLst>
                <a:ext uri="{FF2B5EF4-FFF2-40B4-BE49-F238E27FC236}">
                  <a16:creationId xmlns:a16="http://schemas.microsoft.com/office/drawing/2014/main" id="{49B26666-2AF5-400E-A2DA-E114390475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2689562"/>
              <a:ext cx="343849" cy="485434"/>
            </a:xfrm>
            <a:prstGeom prst="rect">
              <a:avLst/>
            </a:prstGeom>
          </p:spPr>
        </p:pic>
        <p:pic>
          <p:nvPicPr>
            <p:cNvPr id="372" name="Picture 371">
              <a:extLst>
                <a:ext uri="{FF2B5EF4-FFF2-40B4-BE49-F238E27FC236}">
                  <a16:creationId xmlns:a16="http://schemas.microsoft.com/office/drawing/2014/main" id="{5256D673-DD17-4037-910C-944D48F51B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2689562"/>
              <a:ext cx="358497" cy="337572"/>
            </a:xfrm>
            <a:prstGeom prst="rect">
              <a:avLst/>
            </a:prstGeom>
          </p:spPr>
        </p:pic>
        <p:pic>
          <p:nvPicPr>
            <p:cNvPr id="375" name="Picture 374">
              <a:extLst>
                <a:ext uri="{FF2B5EF4-FFF2-40B4-BE49-F238E27FC236}">
                  <a16:creationId xmlns:a16="http://schemas.microsoft.com/office/drawing/2014/main" id="{B6D7DA78-40CB-4EE2-A2BE-ED1B0EAD4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2689562"/>
              <a:ext cx="360588" cy="343849"/>
            </a:xfrm>
            <a:prstGeom prst="rect">
              <a:avLst/>
            </a:prstGeom>
          </p:spPr>
        </p:pic>
        <p:pic>
          <p:nvPicPr>
            <p:cNvPr id="376" name="Content Placeholder 4">
              <a:extLst>
                <a:ext uri="{FF2B5EF4-FFF2-40B4-BE49-F238E27FC236}">
                  <a16:creationId xmlns:a16="http://schemas.microsoft.com/office/drawing/2014/main" id="{2EE239D0-07CB-461B-B3A2-12361AE536B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2689562"/>
              <a:ext cx="346639" cy="485434"/>
            </a:xfrm>
            <a:prstGeom prst="rect">
              <a:avLst/>
            </a:prstGeom>
          </p:spPr>
        </p:pic>
        <p:pic>
          <p:nvPicPr>
            <p:cNvPr id="396" name="Picture 395">
              <a:extLst>
                <a:ext uri="{FF2B5EF4-FFF2-40B4-BE49-F238E27FC236}">
                  <a16:creationId xmlns:a16="http://schemas.microsoft.com/office/drawing/2014/main" id="{E0DCA22A-F0C9-418C-AF3C-3F3F5F5DA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2689562"/>
              <a:ext cx="343849" cy="485434"/>
            </a:xfrm>
            <a:prstGeom prst="rect">
              <a:avLst/>
            </a:prstGeom>
          </p:spPr>
        </p:pic>
        <p:pic>
          <p:nvPicPr>
            <p:cNvPr id="397" name="Picture 396">
              <a:extLst>
                <a:ext uri="{FF2B5EF4-FFF2-40B4-BE49-F238E27FC236}">
                  <a16:creationId xmlns:a16="http://schemas.microsoft.com/office/drawing/2014/main" id="{CE698FF4-E1B9-4835-ACFC-8227F0D53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2689562"/>
              <a:ext cx="358497" cy="337572"/>
            </a:xfrm>
            <a:prstGeom prst="rect">
              <a:avLst/>
            </a:prstGeom>
          </p:spPr>
        </p:pic>
        <p:pic>
          <p:nvPicPr>
            <p:cNvPr id="399" name="Picture 398">
              <a:extLst>
                <a:ext uri="{FF2B5EF4-FFF2-40B4-BE49-F238E27FC236}">
                  <a16:creationId xmlns:a16="http://schemas.microsoft.com/office/drawing/2014/main" id="{A9936A01-43E9-4B25-9747-A307C5C38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2689562"/>
              <a:ext cx="343849" cy="485434"/>
            </a:xfrm>
            <a:prstGeom prst="rect">
              <a:avLst/>
            </a:prstGeom>
          </p:spPr>
        </p:pic>
        <p:pic>
          <p:nvPicPr>
            <p:cNvPr id="402" name="Picture 401">
              <a:extLst>
                <a:ext uri="{FF2B5EF4-FFF2-40B4-BE49-F238E27FC236}">
                  <a16:creationId xmlns:a16="http://schemas.microsoft.com/office/drawing/2014/main" id="{88B7254B-7280-4844-BFFA-E738652F7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0857" y="2689562"/>
              <a:ext cx="360588" cy="343849"/>
            </a:xfrm>
            <a:prstGeom prst="rect">
              <a:avLst/>
            </a:prstGeom>
          </p:spPr>
        </p:pic>
        <p:pic>
          <p:nvPicPr>
            <p:cNvPr id="403" name="Picture 402">
              <a:extLst>
                <a:ext uri="{FF2B5EF4-FFF2-40B4-BE49-F238E27FC236}">
                  <a16:creationId xmlns:a16="http://schemas.microsoft.com/office/drawing/2014/main" id="{DE9A4216-C614-41B8-BE68-7982C4B708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2689562"/>
              <a:ext cx="343849" cy="485434"/>
            </a:xfrm>
            <a:prstGeom prst="rect">
              <a:avLst/>
            </a:prstGeom>
          </p:spPr>
        </p:pic>
        <p:pic>
          <p:nvPicPr>
            <p:cNvPr id="424" name="Picture 423">
              <a:extLst>
                <a:ext uri="{FF2B5EF4-FFF2-40B4-BE49-F238E27FC236}">
                  <a16:creationId xmlns:a16="http://schemas.microsoft.com/office/drawing/2014/main" id="{E9ACBB42-7A4D-416B-B998-76A0B27CA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2689562"/>
              <a:ext cx="343849" cy="485434"/>
            </a:xfrm>
            <a:prstGeom prst="rect">
              <a:avLst/>
            </a:prstGeom>
          </p:spPr>
        </p:pic>
        <p:pic>
          <p:nvPicPr>
            <p:cNvPr id="425" name="Picture 424">
              <a:extLst>
                <a:ext uri="{FF2B5EF4-FFF2-40B4-BE49-F238E27FC236}">
                  <a16:creationId xmlns:a16="http://schemas.microsoft.com/office/drawing/2014/main" id="{2EA88323-905F-47C4-824E-517E2A87E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2689562"/>
              <a:ext cx="358497" cy="337572"/>
            </a:xfrm>
            <a:prstGeom prst="rect">
              <a:avLst/>
            </a:prstGeom>
          </p:spPr>
        </p:pic>
        <p:pic>
          <p:nvPicPr>
            <p:cNvPr id="426" name="Picture 425">
              <a:extLst>
                <a:ext uri="{FF2B5EF4-FFF2-40B4-BE49-F238E27FC236}">
                  <a16:creationId xmlns:a16="http://schemas.microsoft.com/office/drawing/2014/main" id="{9A4CAD25-8709-4B19-9F8A-898A4A26A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2689562"/>
              <a:ext cx="360588" cy="343849"/>
            </a:xfrm>
            <a:prstGeom prst="rect">
              <a:avLst/>
            </a:prstGeom>
          </p:spPr>
        </p:pic>
        <p:pic>
          <p:nvPicPr>
            <p:cNvPr id="427" name="Content Placeholder 4">
              <a:extLst>
                <a:ext uri="{FF2B5EF4-FFF2-40B4-BE49-F238E27FC236}">
                  <a16:creationId xmlns:a16="http://schemas.microsoft.com/office/drawing/2014/main" id="{93E6BABC-ED3D-48EC-A325-104AFC2CC8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2689562"/>
              <a:ext cx="346639" cy="485434"/>
            </a:xfrm>
            <a:prstGeom prst="rect">
              <a:avLst/>
            </a:prstGeom>
          </p:spPr>
        </p:pic>
        <p:pic>
          <p:nvPicPr>
            <p:cNvPr id="428" name="Content Placeholder 4">
              <a:extLst>
                <a:ext uri="{FF2B5EF4-FFF2-40B4-BE49-F238E27FC236}">
                  <a16:creationId xmlns:a16="http://schemas.microsoft.com/office/drawing/2014/main" id="{6538F425-0C7C-4F7F-BE0F-133BFB49D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2689562"/>
              <a:ext cx="346639" cy="485434"/>
            </a:xfrm>
            <a:prstGeom prst="rect">
              <a:avLst/>
            </a:prstGeom>
          </p:spPr>
        </p:pic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CFCCE86A-536B-44D1-BDCB-59E7AF411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2689562"/>
              <a:ext cx="360588" cy="343849"/>
            </a:xfrm>
            <a:prstGeom prst="rect">
              <a:avLst/>
            </a:prstGeom>
          </p:spPr>
        </p:pic>
        <p:pic>
          <p:nvPicPr>
            <p:cNvPr id="430" name="Picture 429">
              <a:extLst>
                <a:ext uri="{FF2B5EF4-FFF2-40B4-BE49-F238E27FC236}">
                  <a16:creationId xmlns:a16="http://schemas.microsoft.com/office/drawing/2014/main" id="{8D62B3BB-FCDB-451A-BC0F-700444F0D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2689562"/>
              <a:ext cx="358497" cy="337572"/>
            </a:xfrm>
            <a:prstGeom prst="rect">
              <a:avLst/>
            </a:prstGeom>
          </p:spPr>
        </p:pic>
        <p:pic>
          <p:nvPicPr>
            <p:cNvPr id="431" name="Content Placeholder 4">
              <a:extLst>
                <a:ext uri="{FF2B5EF4-FFF2-40B4-BE49-F238E27FC236}">
                  <a16:creationId xmlns:a16="http://schemas.microsoft.com/office/drawing/2014/main" id="{ABF73EC3-59D4-42B6-8232-E5069BC6CA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2689562"/>
              <a:ext cx="346639" cy="48543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72AA2A9-9B00-4FA8-9E2F-850272FFD43B}"/>
              </a:ext>
            </a:extLst>
          </p:cNvPr>
          <p:cNvGrpSpPr/>
          <p:nvPr/>
        </p:nvGrpSpPr>
        <p:grpSpPr>
          <a:xfrm>
            <a:off x="4442875" y="3725346"/>
            <a:ext cx="5163640" cy="485434"/>
            <a:chOff x="4442875" y="3725346"/>
            <a:chExt cx="5163640" cy="485434"/>
          </a:xfrm>
        </p:grpSpPr>
        <p:pic>
          <p:nvPicPr>
            <p:cNvPr id="433" name="Picture 432">
              <a:extLst>
                <a:ext uri="{FF2B5EF4-FFF2-40B4-BE49-F238E27FC236}">
                  <a16:creationId xmlns:a16="http://schemas.microsoft.com/office/drawing/2014/main" id="{DAF24D92-99E4-411E-9CEC-ED9A63A19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3866931"/>
              <a:ext cx="360588" cy="343849"/>
            </a:xfrm>
            <a:prstGeom prst="rect">
              <a:avLst/>
            </a:prstGeom>
          </p:spPr>
        </p:pic>
        <p:pic>
          <p:nvPicPr>
            <p:cNvPr id="434" name="Picture 433">
              <a:extLst>
                <a:ext uri="{FF2B5EF4-FFF2-40B4-BE49-F238E27FC236}">
                  <a16:creationId xmlns:a16="http://schemas.microsoft.com/office/drawing/2014/main" id="{98DF90C9-BCAC-460B-926F-F861EC5D9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3725346"/>
              <a:ext cx="343849" cy="485434"/>
            </a:xfrm>
            <a:prstGeom prst="rect">
              <a:avLst/>
            </a:prstGeom>
          </p:spPr>
        </p:pic>
        <p:pic>
          <p:nvPicPr>
            <p:cNvPr id="435" name="Picture 434">
              <a:extLst>
                <a:ext uri="{FF2B5EF4-FFF2-40B4-BE49-F238E27FC236}">
                  <a16:creationId xmlns:a16="http://schemas.microsoft.com/office/drawing/2014/main" id="{EBB56426-552E-4A9A-83FD-C8FC62DF4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416789" y="3873208"/>
              <a:ext cx="358497" cy="337572"/>
            </a:xfrm>
            <a:prstGeom prst="rect">
              <a:avLst/>
            </a:prstGeom>
          </p:spPr>
        </p:pic>
        <p:pic>
          <p:nvPicPr>
            <p:cNvPr id="436" name="Picture 435">
              <a:extLst>
                <a:ext uri="{FF2B5EF4-FFF2-40B4-BE49-F238E27FC236}">
                  <a16:creationId xmlns:a16="http://schemas.microsoft.com/office/drawing/2014/main" id="{8392DFF3-C77C-44FA-A253-83805C9FD7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3866931"/>
              <a:ext cx="360588" cy="343849"/>
            </a:xfrm>
            <a:prstGeom prst="rect">
              <a:avLst/>
            </a:prstGeom>
          </p:spPr>
        </p:pic>
        <p:pic>
          <p:nvPicPr>
            <p:cNvPr id="437" name="Content Placeholder 4">
              <a:extLst>
                <a:ext uri="{FF2B5EF4-FFF2-40B4-BE49-F238E27FC236}">
                  <a16:creationId xmlns:a16="http://schemas.microsoft.com/office/drawing/2014/main" id="{22DB6A51-6F5A-4340-B2F8-939EC013E9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3725346"/>
              <a:ext cx="346639" cy="485434"/>
            </a:xfrm>
            <a:prstGeom prst="rect">
              <a:avLst/>
            </a:prstGeom>
          </p:spPr>
        </p:pic>
        <p:pic>
          <p:nvPicPr>
            <p:cNvPr id="438" name="Picture 437">
              <a:extLst>
                <a:ext uri="{FF2B5EF4-FFF2-40B4-BE49-F238E27FC236}">
                  <a16:creationId xmlns:a16="http://schemas.microsoft.com/office/drawing/2014/main" id="{4BEEF3C8-FAB4-4710-BD43-24543251E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97404" y="3725346"/>
              <a:ext cx="343849" cy="485434"/>
            </a:xfrm>
            <a:prstGeom prst="rect">
              <a:avLst/>
            </a:prstGeom>
          </p:spPr>
        </p:pic>
        <p:pic>
          <p:nvPicPr>
            <p:cNvPr id="439" name="Picture 438">
              <a:extLst>
                <a:ext uri="{FF2B5EF4-FFF2-40B4-BE49-F238E27FC236}">
                  <a16:creationId xmlns:a16="http://schemas.microsoft.com/office/drawing/2014/main" id="{60D88DFA-C85C-4AA1-BAAA-7E97824D3D5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838685" y="3873208"/>
              <a:ext cx="358497" cy="337572"/>
            </a:xfrm>
            <a:prstGeom prst="rect">
              <a:avLst/>
            </a:prstGeom>
          </p:spPr>
        </p:pic>
        <p:pic>
          <p:nvPicPr>
            <p:cNvPr id="440" name="Picture 439">
              <a:extLst>
                <a:ext uri="{FF2B5EF4-FFF2-40B4-BE49-F238E27FC236}">
                  <a16:creationId xmlns:a16="http://schemas.microsoft.com/office/drawing/2014/main" id="{F6C435FC-5629-4631-9396-9B14D4EC1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3725346"/>
              <a:ext cx="343849" cy="485434"/>
            </a:xfrm>
            <a:prstGeom prst="rect">
              <a:avLst/>
            </a:prstGeom>
          </p:spPr>
        </p:pic>
        <p:pic>
          <p:nvPicPr>
            <p:cNvPr id="441" name="Picture 440">
              <a:extLst>
                <a:ext uri="{FF2B5EF4-FFF2-40B4-BE49-F238E27FC236}">
                  <a16:creationId xmlns:a16="http://schemas.microsoft.com/office/drawing/2014/main" id="{B97ECD44-3987-4ED4-BE94-4C8B0A1A6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706051" y="3866931"/>
              <a:ext cx="360588" cy="343849"/>
            </a:xfrm>
            <a:prstGeom prst="rect">
              <a:avLst/>
            </a:prstGeom>
          </p:spPr>
        </p:pic>
        <p:pic>
          <p:nvPicPr>
            <p:cNvPr id="442" name="Picture 441">
              <a:extLst>
                <a:ext uri="{FF2B5EF4-FFF2-40B4-BE49-F238E27FC236}">
                  <a16:creationId xmlns:a16="http://schemas.microsoft.com/office/drawing/2014/main" id="{6CD64F02-B73C-45CB-9941-0513D92AD0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009542" y="3725346"/>
              <a:ext cx="343849" cy="485434"/>
            </a:xfrm>
            <a:prstGeom prst="rect">
              <a:avLst/>
            </a:prstGeom>
          </p:spPr>
        </p:pic>
        <p:pic>
          <p:nvPicPr>
            <p:cNvPr id="443" name="Picture 442">
              <a:extLst>
                <a:ext uri="{FF2B5EF4-FFF2-40B4-BE49-F238E27FC236}">
                  <a16:creationId xmlns:a16="http://schemas.microsoft.com/office/drawing/2014/main" id="{0E2ED372-98CA-4A75-9134-98F6FEDFC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575509" y="3725346"/>
              <a:ext cx="343849" cy="485434"/>
            </a:xfrm>
            <a:prstGeom prst="rect">
              <a:avLst/>
            </a:prstGeom>
          </p:spPr>
        </p:pic>
        <p:pic>
          <p:nvPicPr>
            <p:cNvPr id="444" name="Picture 443">
              <a:extLst>
                <a:ext uri="{FF2B5EF4-FFF2-40B4-BE49-F238E27FC236}">
                  <a16:creationId xmlns:a16="http://schemas.microsoft.com/office/drawing/2014/main" id="{1CBD93E3-3CDE-4E6E-ADCA-B0D7B92D8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72018" y="3873208"/>
              <a:ext cx="358497" cy="337572"/>
            </a:xfrm>
            <a:prstGeom prst="rect">
              <a:avLst/>
            </a:prstGeom>
          </p:spPr>
        </p:pic>
        <p:pic>
          <p:nvPicPr>
            <p:cNvPr id="445" name="Content Placeholder 4">
              <a:extLst>
                <a:ext uri="{FF2B5EF4-FFF2-40B4-BE49-F238E27FC236}">
                  <a16:creationId xmlns:a16="http://schemas.microsoft.com/office/drawing/2014/main" id="{1F6ED55F-1ED9-44DE-B344-488C30ECD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139385" y="3725346"/>
              <a:ext cx="346639" cy="485434"/>
            </a:xfrm>
            <a:prstGeom prst="rect">
              <a:avLst/>
            </a:prstGeom>
          </p:spPr>
        </p:pic>
        <p:pic>
          <p:nvPicPr>
            <p:cNvPr id="446" name="Content Placeholder 4">
              <a:extLst>
                <a:ext uri="{FF2B5EF4-FFF2-40B4-BE49-F238E27FC236}">
                  <a16:creationId xmlns:a16="http://schemas.microsoft.com/office/drawing/2014/main" id="{2D504AB6-7922-4762-8FA1-3F503437A71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442875" y="3725346"/>
              <a:ext cx="346639" cy="485434"/>
            </a:xfrm>
            <a:prstGeom prst="rect">
              <a:avLst/>
            </a:prstGeom>
          </p:spPr>
        </p:pic>
        <p:pic>
          <p:nvPicPr>
            <p:cNvPr id="447" name="Picture 446">
              <a:extLst>
                <a:ext uri="{FF2B5EF4-FFF2-40B4-BE49-F238E27FC236}">
                  <a16:creationId xmlns:a16="http://schemas.microsoft.com/office/drawing/2014/main" id="{BEF77163-1924-47E1-A6EA-17B2147FA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4156" y="3866931"/>
              <a:ext cx="360588" cy="343849"/>
            </a:xfrm>
            <a:prstGeom prst="rect">
              <a:avLst/>
            </a:prstGeom>
          </p:spPr>
        </p:pic>
        <p:pic>
          <p:nvPicPr>
            <p:cNvPr id="448" name="Content Placeholder 4">
              <a:extLst>
                <a:ext uri="{FF2B5EF4-FFF2-40B4-BE49-F238E27FC236}">
                  <a16:creationId xmlns:a16="http://schemas.microsoft.com/office/drawing/2014/main" id="{C785F3B3-29FB-4FB4-90EF-F94E06A1EC5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61281" y="3725346"/>
              <a:ext cx="346639" cy="485434"/>
            </a:xfrm>
            <a:prstGeom prst="rect">
              <a:avLst/>
            </a:prstGeom>
          </p:spPr>
        </p:pic>
        <p:pic>
          <p:nvPicPr>
            <p:cNvPr id="449" name="Picture 448">
              <a:extLst>
                <a:ext uri="{FF2B5EF4-FFF2-40B4-BE49-F238E27FC236}">
                  <a16:creationId xmlns:a16="http://schemas.microsoft.com/office/drawing/2014/main" id="{6C09CE4B-EE3C-4655-94DB-FEB312A8F7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850123" y="3873208"/>
              <a:ext cx="358497" cy="337572"/>
            </a:xfrm>
            <a:prstGeom prst="rect">
              <a:avLst/>
            </a:prstGeom>
          </p:spPr>
        </p:pic>
        <p:pic>
          <p:nvPicPr>
            <p:cNvPr id="450" name="Picture 449">
              <a:extLst>
                <a:ext uri="{FF2B5EF4-FFF2-40B4-BE49-F238E27FC236}">
                  <a16:creationId xmlns:a16="http://schemas.microsoft.com/office/drawing/2014/main" id="{54A5A47A-4B0E-4A6E-A6B6-86E201444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720280" y="3873207"/>
              <a:ext cx="358497" cy="33757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A313053-6429-4C96-87CD-8CEE479BCB55}"/>
              </a:ext>
            </a:extLst>
          </p:cNvPr>
          <p:cNvGrpSpPr/>
          <p:nvPr/>
        </p:nvGrpSpPr>
        <p:grpSpPr>
          <a:xfrm>
            <a:off x="2577746" y="2891536"/>
            <a:ext cx="1493919" cy="485434"/>
            <a:chOff x="2577746" y="2891536"/>
            <a:chExt cx="1493919" cy="485434"/>
          </a:xfrm>
        </p:grpSpPr>
        <p:pic>
          <p:nvPicPr>
            <p:cNvPr id="451" name="Picture 450">
              <a:extLst>
                <a:ext uri="{FF2B5EF4-FFF2-40B4-BE49-F238E27FC236}">
                  <a16:creationId xmlns:a16="http://schemas.microsoft.com/office/drawing/2014/main" id="{21BCB834-CF29-4E8A-B81A-72D8A11913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69796" y="2891536"/>
              <a:ext cx="343849" cy="485434"/>
            </a:xfrm>
            <a:prstGeom prst="rect">
              <a:avLst/>
            </a:prstGeom>
          </p:spPr>
        </p:pic>
        <p:pic>
          <p:nvPicPr>
            <p:cNvPr id="452" name="Picture 451">
              <a:extLst>
                <a:ext uri="{FF2B5EF4-FFF2-40B4-BE49-F238E27FC236}">
                  <a16:creationId xmlns:a16="http://schemas.microsoft.com/office/drawing/2014/main" id="{E91A7A9E-9E05-4D8C-ADA7-0535289C5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45107" y="2891536"/>
              <a:ext cx="358497" cy="337572"/>
            </a:xfrm>
            <a:prstGeom prst="rect">
              <a:avLst/>
            </a:prstGeom>
          </p:spPr>
        </p:pic>
        <p:pic>
          <p:nvPicPr>
            <p:cNvPr id="453" name="Picture 452">
              <a:extLst>
                <a:ext uri="{FF2B5EF4-FFF2-40B4-BE49-F238E27FC236}">
                  <a16:creationId xmlns:a16="http://schemas.microsoft.com/office/drawing/2014/main" id="{9FDBE123-380E-48DC-90FC-B09C5C73CC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7746" y="2891536"/>
              <a:ext cx="360588" cy="343849"/>
            </a:xfrm>
            <a:prstGeom prst="rect">
              <a:avLst/>
            </a:prstGeom>
          </p:spPr>
        </p:pic>
        <p:pic>
          <p:nvPicPr>
            <p:cNvPr id="454" name="Content Placeholder 4">
              <a:extLst>
                <a:ext uri="{FF2B5EF4-FFF2-40B4-BE49-F238E27FC236}">
                  <a16:creationId xmlns:a16="http://schemas.microsoft.com/office/drawing/2014/main" id="{1DFB61F5-D034-42E4-97C5-8E60D60769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35067" y="2891536"/>
              <a:ext cx="346639" cy="485434"/>
            </a:xfrm>
            <a:prstGeom prst="rect">
              <a:avLst/>
            </a:prstGeom>
          </p:spPr>
        </p:pic>
        <p:pic>
          <p:nvPicPr>
            <p:cNvPr id="455" name="Picture 454">
              <a:extLst>
                <a:ext uri="{FF2B5EF4-FFF2-40B4-BE49-F238E27FC236}">
                  <a16:creationId xmlns:a16="http://schemas.microsoft.com/office/drawing/2014/main" id="{836E40CB-1D62-447A-B224-DC03F0FC87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13168" y="2891536"/>
              <a:ext cx="358497" cy="337572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8D39294-D392-4B4C-BC5F-C9AA2169C21C}"/>
              </a:ext>
            </a:extLst>
          </p:cNvPr>
          <p:cNvGrpSpPr/>
          <p:nvPr/>
        </p:nvGrpSpPr>
        <p:grpSpPr>
          <a:xfrm>
            <a:off x="9945096" y="3454012"/>
            <a:ext cx="1478568" cy="485434"/>
            <a:chOff x="9935669" y="3454012"/>
            <a:chExt cx="1478568" cy="485434"/>
          </a:xfrm>
        </p:grpSpPr>
        <p:pic>
          <p:nvPicPr>
            <p:cNvPr id="456" name="Picture 455">
              <a:extLst>
                <a:ext uri="{FF2B5EF4-FFF2-40B4-BE49-F238E27FC236}">
                  <a16:creationId xmlns:a16="http://schemas.microsoft.com/office/drawing/2014/main" id="{416757A6-DEC4-499F-AA43-1A89026C5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210283" y="3595597"/>
              <a:ext cx="360588" cy="343849"/>
            </a:xfrm>
            <a:prstGeom prst="rect">
              <a:avLst/>
            </a:prstGeom>
          </p:spPr>
        </p:pic>
        <p:pic>
          <p:nvPicPr>
            <p:cNvPr id="457" name="Picture 456">
              <a:extLst>
                <a:ext uri="{FF2B5EF4-FFF2-40B4-BE49-F238E27FC236}">
                  <a16:creationId xmlns:a16="http://schemas.microsoft.com/office/drawing/2014/main" id="{997148D3-21A7-4760-9371-910FA565D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792989" y="3454012"/>
              <a:ext cx="343849" cy="485434"/>
            </a:xfrm>
            <a:prstGeom prst="rect">
              <a:avLst/>
            </a:prstGeom>
          </p:spPr>
        </p:pic>
        <p:pic>
          <p:nvPicPr>
            <p:cNvPr id="458" name="Picture 457">
              <a:extLst>
                <a:ext uri="{FF2B5EF4-FFF2-40B4-BE49-F238E27FC236}">
                  <a16:creationId xmlns:a16="http://schemas.microsoft.com/office/drawing/2014/main" id="{D7DEDF25-3B89-4E2F-A644-5C4636E3D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501636" y="3595597"/>
              <a:ext cx="360588" cy="343849"/>
            </a:xfrm>
            <a:prstGeom prst="rect">
              <a:avLst/>
            </a:prstGeom>
          </p:spPr>
        </p:pic>
        <p:pic>
          <p:nvPicPr>
            <p:cNvPr id="459" name="Content Placeholder 4">
              <a:extLst>
                <a:ext uri="{FF2B5EF4-FFF2-40B4-BE49-F238E27FC236}">
                  <a16:creationId xmlns:a16="http://schemas.microsoft.com/office/drawing/2014/main" id="{731A2897-562A-49E8-B6E9-254C69E1B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1067598" y="3454012"/>
              <a:ext cx="346639" cy="485434"/>
            </a:xfrm>
            <a:prstGeom prst="rect">
              <a:avLst/>
            </a:prstGeom>
          </p:spPr>
        </p:pic>
        <p:pic>
          <p:nvPicPr>
            <p:cNvPr id="460" name="Picture 459">
              <a:extLst>
                <a:ext uri="{FF2B5EF4-FFF2-40B4-BE49-F238E27FC236}">
                  <a16:creationId xmlns:a16="http://schemas.microsoft.com/office/drawing/2014/main" id="{8A214CDC-565B-4FA6-9DF4-B48EAC0FA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935669" y="3454012"/>
              <a:ext cx="343849" cy="485434"/>
            </a:xfrm>
            <a:prstGeom prst="rect">
              <a:avLst/>
            </a:prstGeom>
          </p:spPr>
        </p:pic>
      </p:grp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7C22E35D-A39A-4D83-A959-5589552A507C}"/>
              </a:ext>
            </a:extLst>
          </p:cNvPr>
          <p:cNvGrpSpPr/>
          <p:nvPr/>
        </p:nvGrpSpPr>
        <p:grpSpPr>
          <a:xfrm>
            <a:off x="4384701" y="4349392"/>
            <a:ext cx="5177588" cy="485434"/>
            <a:chOff x="4384701" y="2689562"/>
            <a:chExt cx="5177588" cy="485434"/>
          </a:xfrm>
        </p:grpSpPr>
        <p:pic>
          <p:nvPicPr>
            <p:cNvPr id="462" name="Picture 461">
              <a:extLst>
                <a:ext uri="{FF2B5EF4-FFF2-40B4-BE49-F238E27FC236}">
                  <a16:creationId xmlns:a16="http://schemas.microsoft.com/office/drawing/2014/main" id="{059E4FB4-55BF-40CE-A252-6EDA89824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2689562"/>
              <a:ext cx="360588" cy="343849"/>
            </a:xfrm>
            <a:prstGeom prst="rect">
              <a:avLst/>
            </a:prstGeom>
          </p:spPr>
        </p:pic>
        <p:pic>
          <p:nvPicPr>
            <p:cNvPr id="463" name="Picture 462">
              <a:extLst>
                <a:ext uri="{FF2B5EF4-FFF2-40B4-BE49-F238E27FC236}">
                  <a16:creationId xmlns:a16="http://schemas.microsoft.com/office/drawing/2014/main" id="{0A817C53-79F2-4DB7-88E9-7E859D5F5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2689562"/>
              <a:ext cx="343849" cy="485434"/>
            </a:xfrm>
            <a:prstGeom prst="rect">
              <a:avLst/>
            </a:prstGeom>
          </p:spPr>
        </p:pic>
        <p:pic>
          <p:nvPicPr>
            <p:cNvPr id="464" name="Picture 463">
              <a:extLst>
                <a:ext uri="{FF2B5EF4-FFF2-40B4-BE49-F238E27FC236}">
                  <a16:creationId xmlns:a16="http://schemas.microsoft.com/office/drawing/2014/main" id="{FF9FB100-3EA8-403C-9111-BB16BEEB20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2689562"/>
              <a:ext cx="358497" cy="337572"/>
            </a:xfrm>
            <a:prstGeom prst="rect">
              <a:avLst/>
            </a:prstGeom>
          </p:spPr>
        </p:pic>
        <p:pic>
          <p:nvPicPr>
            <p:cNvPr id="465" name="Picture 464">
              <a:extLst>
                <a:ext uri="{FF2B5EF4-FFF2-40B4-BE49-F238E27FC236}">
                  <a16:creationId xmlns:a16="http://schemas.microsoft.com/office/drawing/2014/main" id="{66E771C0-E717-434D-B391-522584652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2689562"/>
              <a:ext cx="360588" cy="343849"/>
            </a:xfrm>
            <a:prstGeom prst="rect">
              <a:avLst/>
            </a:prstGeom>
          </p:spPr>
        </p:pic>
        <p:pic>
          <p:nvPicPr>
            <p:cNvPr id="466" name="Content Placeholder 4">
              <a:extLst>
                <a:ext uri="{FF2B5EF4-FFF2-40B4-BE49-F238E27FC236}">
                  <a16:creationId xmlns:a16="http://schemas.microsoft.com/office/drawing/2014/main" id="{6F5DD93A-9C25-4EE7-8240-E34F07EA3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2689562"/>
              <a:ext cx="346639" cy="485434"/>
            </a:xfrm>
            <a:prstGeom prst="rect">
              <a:avLst/>
            </a:prstGeom>
          </p:spPr>
        </p:pic>
        <p:pic>
          <p:nvPicPr>
            <p:cNvPr id="467" name="Picture 466">
              <a:extLst>
                <a:ext uri="{FF2B5EF4-FFF2-40B4-BE49-F238E27FC236}">
                  <a16:creationId xmlns:a16="http://schemas.microsoft.com/office/drawing/2014/main" id="{50A2AF67-8122-4028-9912-4D26581544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2689562"/>
              <a:ext cx="343849" cy="485434"/>
            </a:xfrm>
            <a:prstGeom prst="rect">
              <a:avLst/>
            </a:prstGeom>
          </p:spPr>
        </p:pic>
        <p:pic>
          <p:nvPicPr>
            <p:cNvPr id="468" name="Picture 467">
              <a:extLst>
                <a:ext uri="{FF2B5EF4-FFF2-40B4-BE49-F238E27FC236}">
                  <a16:creationId xmlns:a16="http://schemas.microsoft.com/office/drawing/2014/main" id="{5C6EC5E6-859B-4D74-9A54-35304D9132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2689562"/>
              <a:ext cx="358497" cy="337572"/>
            </a:xfrm>
            <a:prstGeom prst="rect">
              <a:avLst/>
            </a:prstGeom>
          </p:spPr>
        </p:pic>
        <p:pic>
          <p:nvPicPr>
            <p:cNvPr id="469" name="Picture 468">
              <a:extLst>
                <a:ext uri="{FF2B5EF4-FFF2-40B4-BE49-F238E27FC236}">
                  <a16:creationId xmlns:a16="http://schemas.microsoft.com/office/drawing/2014/main" id="{3FB1110E-2181-4B52-8AB1-C717E3B8FA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2689562"/>
              <a:ext cx="343849" cy="485434"/>
            </a:xfrm>
            <a:prstGeom prst="rect">
              <a:avLst/>
            </a:prstGeom>
          </p:spPr>
        </p:pic>
        <p:pic>
          <p:nvPicPr>
            <p:cNvPr id="470" name="Picture 469">
              <a:extLst>
                <a:ext uri="{FF2B5EF4-FFF2-40B4-BE49-F238E27FC236}">
                  <a16:creationId xmlns:a16="http://schemas.microsoft.com/office/drawing/2014/main" id="{A265A702-D2D1-4F0C-9791-184F48166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0857" y="2689562"/>
              <a:ext cx="360588" cy="343849"/>
            </a:xfrm>
            <a:prstGeom prst="rect">
              <a:avLst/>
            </a:prstGeom>
          </p:spPr>
        </p:pic>
        <p:pic>
          <p:nvPicPr>
            <p:cNvPr id="471" name="Picture 470">
              <a:extLst>
                <a:ext uri="{FF2B5EF4-FFF2-40B4-BE49-F238E27FC236}">
                  <a16:creationId xmlns:a16="http://schemas.microsoft.com/office/drawing/2014/main" id="{D0E11546-075F-4B8D-A33B-37034A7CD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2689562"/>
              <a:ext cx="343849" cy="485434"/>
            </a:xfrm>
            <a:prstGeom prst="rect">
              <a:avLst/>
            </a:prstGeom>
          </p:spPr>
        </p:pic>
        <p:pic>
          <p:nvPicPr>
            <p:cNvPr id="472" name="Picture 471">
              <a:extLst>
                <a:ext uri="{FF2B5EF4-FFF2-40B4-BE49-F238E27FC236}">
                  <a16:creationId xmlns:a16="http://schemas.microsoft.com/office/drawing/2014/main" id="{1A60EB38-1C52-4A38-80F6-6DFF2F317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2689562"/>
              <a:ext cx="343849" cy="485434"/>
            </a:xfrm>
            <a:prstGeom prst="rect">
              <a:avLst/>
            </a:prstGeom>
          </p:spPr>
        </p:pic>
        <p:pic>
          <p:nvPicPr>
            <p:cNvPr id="473" name="Picture 472">
              <a:extLst>
                <a:ext uri="{FF2B5EF4-FFF2-40B4-BE49-F238E27FC236}">
                  <a16:creationId xmlns:a16="http://schemas.microsoft.com/office/drawing/2014/main" id="{BA782AEA-1EFE-463A-8EA0-CCE91349E1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2689562"/>
              <a:ext cx="358497" cy="337572"/>
            </a:xfrm>
            <a:prstGeom prst="rect">
              <a:avLst/>
            </a:prstGeom>
          </p:spPr>
        </p:pic>
        <p:pic>
          <p:nvPicPr>
            <p:cNvPr id="474" name="Picture 473">
              <a:extLst>
                <a:ext uri="{FF2B5EF4-FFF2-40B4-BE49-F238E27FC236}">
                  <a16:creationId xmlns:a16="http://schemas.microsoft.com/office/drawing/2014/main" id="{FC69D10F-707B-49C5-816B-3E7AD7B5C7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2689562"/>
              <a:ext cx="360588" cy="343849"/>
            </a:xfrm>
            <a:prstGeom prst="rect">
              <a:avLst/>
            </a:prstGeom>
          </p:spPr>
        </p:pic>
        <p:pic>
          <p:nvPicPr>
            <p:cNvPr id="475" name="Content Placeholder 4">
              <a:extLst>
                <a:ext uri="{FF2B5EF4-FFF2-40B4-BE49-F238E27FC236}">
                  <a16:creationId xmlns:a16="http://schemas.microsoft.com/office/drawing/2014/main" id="{B607CE7B-5424-4C1B-96BF-1BDB6312D03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2689562"/>
              <a:ext cx="346639" cy="485434"/>
            </a:xfrm>
            <a:prstGeom prst="rect">
              <a:avLst/>
            </a:prstGeom>
          </p:spPr>
        </p:pic>
        <p:pic>
          <p:nvPicPr>
            <p:cNvPr id="476" name="Content Placeholder 4">
              <a:extLst>
                <a:ext uri="{FF2B5EF4-FFF2-40B4-BE49-F238E27FC236}">
                  <a16:creationId xmlns:a16="http://schemas.microsoft.com/office/drawing/2014/main" id="{9D17D1EF-3892-4395-AA6F-BE65A797F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2689562"/>
              <a:ext cx="346639" cy="485434"/>
            </a:xfrm>
            <a:prstGeom prst="rect">
              <a:avLst/>
            </a:prstGeom>
          </p:spPr>
        </p:pic>
        <p:pic>
          <p:nvPicPr>
            <p:cNvPr id="477" name="Picture 476">
              <a:extLst>
                <a:ext uri="{FF2B5EF4-FFF2-40B4-BE49-F238E27FC236}">
                  <a16:creationId xmlns:a16="http://schemas.microsoft.com/office/drawing/2014/main" id="{DA24E1F3-A1DC-42A1-8F51-ED97FBC87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2689562"/>
              <a:ext cx="360588" cy="343849"/>
            </a:xfrm>
            <a:prstGeom prst="rect">
              <a:avLst/>
            </a:prstGeom>
          </p:spPr>
        </p:pic>
        <p:pic>
          <p:nvPicPr>
            <p:cNvPr id="478" name="Picture 477">
              <a:extLst>
                <a:ext uri="{FF2B5EF4-FFF2-40B4-BE49-F238E27FC236}">
                  <a16:creationId xmlns:a16="http://schemas.microsoft.com/office/drawing/2014/main" id="{33627528-9A60-4840-AB55-1B38A8F060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2689562"/>
              <a:ext cx="358497" cy="337572"/>
            </a:xfrm>
            <a:prstGeom prst="rect">
              <a:avLst/>
            </a:prstGeom>
          </p:spPr>
        </p:pic>
        <p:pic>
          <p:nvPicPr>
            <p:cNvPr id="479" name="Content Placeholder 4">
              <a:extLst>
                <a:ext uri="{FF2B5EF4-FFF2-40B4-BE49-F238E27FC236}">
                  <a16:creationId xmlns:a16="http://schemas.microsoft.com/office/drawing/2014/main" id="{E5350C8E-5C85-4F66-825B-FF486617D4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2689562"/>
              <a:ext cx="346639" cy="485434"/>
            </a:xfrm>
            <a:prstGeom prst="rect">
              <a:avLst/>
            </a:prstGeom>
          </p:spPr>
        </p:pic>
      </p:grpSp>
      <p:grpSp>
        <p:nvGrpSpPr>
          <p:cNvPr id="480" name="Group 479">
            <a:extLst>
              <a:ext uri="{FF2B5EF4-FFF2-40B4-BE49-F238E27FC236}">
                <a16:creationId xmlns:a16="http://schemas.microsoft.com/office/drawing/2014/main" id="{60A94DE4-D757-4EAC-B6AD-9F09CE33F408}"/>
              </a:ext>
            </a:extLst>
          </p:cNvPr>
          <p:cNvGrpSpPr/>
          <p:nvPr/>
        </p:nvGrpSpPr>
        <p:grpSpPr>
          <a:xfrm>
            <a:off x="4442875" y="5712836"/>
            <a:ext cx="5163640" cy="485434"/>
            <a:chOff x="4442875" y="3725346"/>
            <a:chExt cx="5163640" cy="485434"/>
          </a:xfrm>
        </p:grpSpPr>
        <p:pic>
          <p:nvPicPr>
            <p:cNvPr id="481" name="Picture 480">
              <a:extLst>
                <a:ext uri="{FF2B5EF4-FFF2-40B4-BE49-F238E27FC236}">
                  <a16:creationId xmlns:a16="http://schemas.microsoft.com/office/drawing/2014/main" id="{F6D8617A-819E-464C-9358-50C42F3F9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3866931"/>
              <a:ext cx="360588" cy="343849"/>
            </a:xfrm>
            <a:prstGeom prst="rect">
              <a:avLst/>
            </a:prstGeom>
          </p:spPr>
        </p:pic>
        <p:pic>
          <p:nvPicPr>
            <p:cNvPr id="482" name="Picture 481">
              <a:extLst>
                <a:ext uri="{FF2B5EF4-FFF2-40B4-BE49-F238E27FC236}">
                  <a16:creationId xmlns:a16="http://schemas.microsoft.com/office/drawing/2014/main" id="{32475EE5-F25B-4B47-9119-94AEE5ABC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3725346"/>
              <a:ext cx="343849" cy="485434"/>
            </a:xfrm>
            <a:prstGeom prst="rect">
              <a:avLst/>
            </a:prstGeom>
          </p:spPr>
        </p:pic>
        <p:pic>
          <p:nvPicPr>
            <p:cNvPr id="487" name="Picture 486">
              <a:extLst>
                <a:ext uri="{FF2B5EF4-FFF2-40B4-BE49-F238E27FC236}">
                  <a16:creationId xmlns:a16="http://schemas.microsoft.com/office/drawing/2014/main" id="{C4536B16-EC29-461D-B4EB-6DB6A5B81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416789" y="3873208"/>
              <a:ext cx="358497" cy="337572"/>
            </a:xfrm>
            <a:prstGeom prst="rect">
              <a:avLst/>
            </a:prstGeom>
          </p:spPr>
        </p:pic>
        <p:pic>
          <p:nvPicPr>
            <p:cNvPr id="489" name="Picture 488">
              <a:extLst>
                <a:ext uri="{FF2B5EF4-FFF2-40B4-BE49-F238E27FC236}">
                  <a16:creationId xmlns:a16="http://schemas.microsoft.com/office/drawing/2014/main" id="{1DAD0A2D-ACAC-470A-A7AF-69145FD442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3866931"/>
              <a:ext cx="360588" cy="343849"/>
            </a:xfrm>
            <a:prstGeom prst="rect">
              <a:avLst/>
            </a:prstGeom>
          </p:spPr>
        </p:pic>
        <p:pic>
          <p:nvPicPr>
            <p:cNvPr id="490" name="Content Placeholder 4">
              <a:extLst>
                <a:ext uri="{FF2B5EF4-FFF2-40B4-BE49-F238E27FC236}">
                  <a16:creationId xmlns:a16="http://schemas.microsoft.com/office/drawing/2014/main" id="{5491A93E-9CB9-4A9A-83AB-D02359FE4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3725346"/>
              <a:ext cx="346639" cy="485434"/>
            </a:xfrm>
            <a:prstGeom prst="rect">
              <a:avLst/>
            </a:prstGeom>
          </p:spPr>
        </p:pic>
        <p:pic>
          <p:nvPicPr>
            <p:cNvPr id="493" name="Picture 492">
              <a:extLst>
                <a:ext uri="{FF2B5EF4-FFF2-40B4-BE49-F238E27FC236}">
                  <a16:creationId xmlns:a16="http://schemas.microsoft.com/office/drawing/2014/main" id="{AC3A20A1-7F23-428F-8152-1A448B261A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997404" y="3725346"/>
              <a:ext cx="343849" cy="485434"/>
            </a:xfrm>
            <a:prstGeom prst="rect">
              <a:avLst/>
            </a:prstGeom>
          </p:spPr>
        </p:pic>
        <p:pic>
          <p:nvPicPr>
            <p:cNvPr id="494" name="Picture 493">
              <a:extLst>
                <a:ext uri="{FF2B5EF4-FFF2-40B4-BE49-F238E27FC236}">
                  <a16:creationId xmlns:a16="http://schemas.microsoft.com/office/drawing/2014/main" id="{387F381D-0615-4EA6-9DA9-092CC4ACA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838685" y="3873208"/>
              <a:ext cx="358497" cy="337572"/>
            </a:xfrm>
            <a:prstGeom prst="rect">
              <a:avLst/>
            </a:prstGeom>
          </p:spPr>
        </p:pic>
        <p:pic>
          <p:nvPicPr>
            <p:cNvPr id="514" name="Picture 513">
              <a:extLst>
                <a:ext uri="{FF2B5EF4-FFF2-40B4-BE49-F238E27FC236}">
                  <a16:creationId xmlns:a16="http://schemas.microsoft.com/office/drawing/2014/main" id="{4221F1E4-571E-4538-84E1-41196057FF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3725346"/>
              <a:ext cx="343849" cy="485434"/>
            </a:xfrm>
            <a:prstGeom prst="rect">
              <a:avLst/>
            </a:prstGeom>
          </p:spPr>
        </p:pic>
        <p:pic>
          <p:nvPicPr>
            <p:cNvPr id="515" name="Picture 514">
              <a:extLst>
                <a:ext uri="{FF2B5EF4-FFF2-40B4-BE49-F238E27FC236}">
                  <a16:creationId xmlns:a16="http://schemas.microsoft.com/office/drawing/2014/main" id="{7471CC63-6939-4472-B46A-542BD55E9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706051" y="3866931"/>
              <a:ext cx="360588" cy="343849"/>
            </a:xfrm>
            <a:prstGeom prst="rect">
              <a:avLst/>
            </a:prstGeom>
          </p:spPr>
        </p:pic>
        <p:pic>
          <p:nvPicPr>
            <p:cNvPr id="517" name="Picture 516">
              <a:extLst>
                <a:ext uri="{FF2B5EF4-FFF2-40B4-BE49-F238E27FC236}">
                  <a16:creationId xmlns:a16="http://schemas.microsoft.com/office/drawing/2014/main" id="{7A5FFFCF-F686-4091-8492-2D78513DCD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009542" y="3725346"/>
              <a:ext cx="343849" cy="485434"/>
            </a:xfrm>
            <a:prstGeom prst="rect">
              <a:avLst/>
            </a:prstGeom>
          </p:spPr>
        </p:pic>
        <p:pic>
          <p:nvPicPr>
            <p:cNvPr id="520" name="Picture 519">
              <a:extLst>
                <a:ext uri="{FF2B5EF4-FFF2-40B4-BE49-F238E27FC236}">
                  <a16:creationId xmlns:a16="http://schemas.microsoft.com/office/drawing/2014/main" id="{3856FFBE-D85F-46D8-9274-5C20426780D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575509" y="3725346"/>
              <a:ext cx="343849" cy="485434"/>
            </a:xfrm>
            <a:prstGeom prst="rect">
              <a:avLst/>
            </a:prstGeom>
          </p:spPr>
        </p:pic>
        <p:pic>
          <p:nvPicPr>
            <p:cNvPr id="521" name="Picture 520">
              <a:extLst>
                <a:ext uri="{FF2B5EF4-FFF2-40B4-BE49-F238E27FC236}">
                  <a16:creationId xmlns:a16="http://schemas.microsoft.com/office/drawing/2014/main" id="{FCB5E8C4-B8B1-4468-852A-1F0ED2F960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272018" y="3873208"/>
              <a:ext cx="358497" cy="337572"/>
            </a:xfrm>
            <a:prstGeom prst="rect">
              <a:avLst/>
            </a:prstGeom>
          </p:spPr>
        </p:pic>
        <p:pic>
          <p:nvPicPr>
            <p:cNvPr id="537" name="Content Placeholder 4">
              <a:extLst>
                <a:ext uri="{FF2B5EF4-FFF2-40B4-BE49-F238E27FC236}">
                  <a16:creationId xmlns:a16="http://schemas.microsoft.com/office/drawing/2014/main" id="{BC71D626-3CBF-40BF-9262-66DD7306D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6139385" y="3725346"/>
              <a:ext cx="346639" cy="485434"/>
            </a:xfrm>
            <a:prstGeom prst="rect">
              <a:avLst/>
            </a:prstGeom>
          </p:spPr>
        </p:pic>
        <p:pic>
          <p:nvPicPr>
            <p:cNvPr id="538" name="Content Placeholder 4">
              <a:extLst>
                <a:ext uri="{FF2B5EF4-FFF2-40B4-BE49-F238E27FC236}">
                  <a16:creationId xmlns:a16="http://schemas.microsoft.com/office/drawing/2014/main" id="{A5BBB907-FB19-4A25-B2CC-D03E636D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442875" y="3725346"/>
              <a:ext cx="346639" cy="485434"/>
            </a:xfrm>
            <a:prstGeom prst="rect">
              <a:avLst/>
            </a:prstGeom>
          </p:spPr>
        </p:pic>
        <p:pic>
          <p:nvPicPr>
            <p:cNvPr id="539" name="Picture 538">
              <a:extLst>
                <a:ext uri="{FF2B5EF4-FFF2-40B4-BE49-F238E27FC236}">
                  <a16:creationId xmlns:a16="http://schemas.microsoft.com/office/drawing/2014/main" id="{84A0CDF9-EE07-4F03-8D59-B8F13CF9C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284156" y="3866931"/>
              <a:ext cx="360588" cy="343849"/>
            </a:xfrm>
            <a:prstGeom prst="rect">
              <a:avLst/>
            </a:prstGeom>
          </p:spPr>
        </p:pic>
        <p:pic>
          <p:nvPicPr>
            <p:cNvPr id="540" name="Content Placeholder 4">
              <a:extLst>
                <a:ext uri="{FF2B5EF4-FFF2-40B4-BE49-F238E27FC236}">
                  <a16:creationId xmlns:a16="http://schemas.microsoft.com/office/drawing/2014/main" id="{E9EE8D83-4E4A-4986-A253-9FE9D2AB9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7561281" y="3725346"/>
              <a:ext cx="346639" cy="485434"/>
            </a:xfrm>
            <a:prstGeom prst="rect">
              <a:avLst/>
            </a:prstGeom>
          </p:spPr>
        </p:pic>
        <p:pic>
          <p:nvPicPr>
            <p:cNvPr id="541" name="Picture 540">
              <a:extLst>
                <a:ext uri="{FF2B5EF4-FFF2-40B4-BE49-F238E27FC236}">
                  <a16:creationId xmlns:a16="http://schemas.microsoft.com/office/drawing/2014/main" id="{818B87C7-B8B7-4ACB-AB49-01FC6668FE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5850123" y="3873208"/>
              <a:ext cx="358497" cy="337572"/>
            </a:xfrm>
            <a:prstGeom prst="rect">
              <a:avLst/>
            </a:prstGeom>
          </p:spPr>
        </p:pic>
        <p:pic>
          <p:nvPicPr>
            <p:cNvPr id="542" name="Picture 541">
              <a:extLst>
                <a:ext uri="{FF2B5EF4-FFF2-40B4-BE49-F238E27FC236}">
                  <a16:creationId xmlns:a16="http://schemas.microsoft.com/office/drawing/2014/main" id="{69B1DF09-44D0-4C23-A8A4-937A93FE7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4720280" y="3873207"/>
              <a:ext cx="358497" cy="337572"/>
            </a:xfrm>
            <a:prstGeom prst="rect">
              <a:avLst/>
            </a:prstGeom>
          </p:spPr>
        </p:pic>
      </p:grpSp>
      <p:pic>
        <p:nvPicPr>
          <p:cNvPr id="547" name="Picture 546">
            <a:extLst>
              <a:ext uri="{FF2B5EF4-FFF2-40B4-BE49-F238E27FC236}">
                <a16:creationId xmlns:a16="http://schemas.microsoft.com/office/drawing/2014/main" id="{822B6227-801C-41CE-8077-893ED23941E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5394" y="5346127"/>
            <a:ext cx="360588" cy="343849"/>
          </a:xfrm>
          <a:prstGeom prst="rect">
            <a:avLst/>
          </a:prstGeom>
        </p:spPr>
      </p:pic>
      <p:pic>
        <p:nvPicPr>
          <p:cNvPr id="567" name="Picture 566">
            <a:extLst>
              <a:ext uri="{FF2B5EF4-FFF2-40B4-BE49-F238E27FC236}">
                <a16:creationId xmlns:a16="http://schemas.microsoft.com/office/drawing/2014/main" id="{A128EE05-392A-40DF-8556-97656C34397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083" y="5346127"/>
            <a:ext cx="343849" cy="48543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0D49FF1-6EEA-4EFF-9E41-4641A65C18AB}"/>
              </a:ext>
            </a:extLst>
          </p:cNvPr>
          <p:cNvGrpSpPr/>
          <p:nvPr/>
        </p:nvGrpSpPr>
        <p:grpSpPr>
          <a:xfrm>
            <a:off x="4384701" y="5346127"/>
            <a:ext cx="1493919" cy="485434"/>
            <a:chOff x="4384701" y="5346127"/>
            <a:chExt cx="1493919" cy="485434"/>
          </a:xfrm>
        </p:grpSpPr>
        <p:pic>
          <p:nvPicPr>
            <p:cNvPr id="548" name="Picture 547">
              <a:extLst>
                <a:ext uri="{FF2B5EF4-FFF2-40B4-BE49-F238E27FC236}">
                  <a16:creationId xmlns:a16="http://schemas.microsoft.com/office/drawing/2014/main" id="{10B11CD6-DA5B-48A6-B06C-E6AEF2634E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5346127"/>
              <a:ext cx="343849" cy="485434"/>
            </a:xfrm>
            <a:prstGeom prst="rect">
              <a:avLst/>
            </a:prstGeom>
          </p:spPr>
        </p:pic>
        <p:pic>
          <p:nvPicPr>
            <p:cNvPr id="564" name="Picture 563">
              <a:extLst>
                <a:ext uri="{FF2B5EF4-FFF2-40B4-BE49-F238E27FC236}">
                  <a16:creationId xmlns:a16="http://schemas.microsoft.com/office/drawing/2014/main" id="{52BA0899-A236-466F-9AC8-C15A358BA0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5346127"/>
              <a:ext cx="358497" cy="337572"/>
            </a:xfrm>
            <a:prstGeom prst="rect">
              <a:avLst/>
            </a:prstGeom>
          </p:spPr>
        </p:pic>
        <p:pic>
          <p:nvPicPr>
            <p:cNvPr id="565" name="Picture 564">
              <a:extLst>
                <a:ext uri="{FF2B5EF4-FFF2-40B4-BE49-F238E27FC236}">
                  <a16:creationId xmlns:a16="http://schemas.microsoft.com/office/drawing/2014/main" id="{21F3E742-47F5-4E23-AA69-16A634B1D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5346127"/>
              <a:ext cx="360588" cy="343849"/>
            </a:xfrm>
            <a:prstGeom prst="rect">
              <a:avLst/>
            </a:prstGeom>
          </p:spPr>
        </p:pic>
        <p:pic>
          <p:nvPicPr>
            <p:cNvPr id="566" name="Content Placeholder 4">
              <a:extLst>
                <a:ext uri="{FF2B5EF4-FFF2-40B4-BE49-F238E27FC236}">
                  <a16:creationId xmlns:a16="http://schemas.microsoft.com/office/drawing/2014/main" id="{5A3BBC4B-63E7-4952-B1AD-34742C77D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5346127"/>
              <a:ext cx="346639" cy="485434"/>
            </a:xfrm>
            <a:prstGeom prst="rect">
              <a:avLst/>
            </a:prstGeom>
          </p:spPr>
        </p:pic>
        <p:pic>
          <p:nvPicPr>
            <p:cNvPr id="568" name="Picture 567">
              <a:extLst>
                <a:ext uri="{FF2B5EF4-FFF2-40B4-BE49-F238E27FC236}">
                  <a16:creationId xmlns:a16="http://schemas.microsoft.com/office/drawing/2014/main" id="{96855AE4-459E-4C50-BB75-48B33598F7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5346127"/>
              <a:ext cx="358497" cy="337572"/>
            </a:xfrm>
            <a:prstGeom prst="rect">
              <a:avLst/>
            </a:prstGeom>
          </p:spPr>
        </p:pic>
      </p:grpSp>
      <p:pic>
        <p:nvPicPr>
          <p:cNvPr id="570" name="Picture 569">
            <a:extLst>
              <a:ext uri="{FF2B5EF4-FFF2-40B4-BE49-F238E27FC236}">
                <a16:creationId xmlns:a16="http://schemas.microsoft.com/office/drawing/2014/main" id="{2FF4E438-BB27-43FB-947D-3E2C5B67D18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444" y="5346127"/>
            <a:ext cx="343849" cy="485434"/>
          </a:xfrm>
          <a:prstGeom prst="rect">
            <a:avLst/>
          </a:prstGeom>
        </p:spPr>
      </p:pic>
      <p:pic>
        <p:nvPicPr>
          <p:cNvPr id="571" name="Picture 570">
            <a:extLst>
              <a:ext uri="{FF2B5EF4-FFF2-40B4-BE49-F238E27FC236}">
                <a16:creationId xmlns:a16="http://schemas.microsoft.com/office/drawing/2014/main" id="{3C8B96B5-367B-4B82-A50B-F98BBC7F505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0857" y="5346127"/>
            <a:ext cx="360588" cy="343849"/>
          </a:xfrm>
          <a:prstGeom prst="rect">
            <a:avLst/>
          </a:prstGeom>
        </p:spPr>
      </p:pic>
      <p:pic>
        <p:nvPicPr>
          <p:cNvPr id="574" name="Picture 573">
            <a:extLst>
              <a:ext uri="{FF2B5EF4-FFF2-40B4-BE49-F238E27FC236}">
                <a16:creationId xmlns:a16="http://schemas.microsoft.com/office/drawing/2014/main" id="{5165CE6A-990A-478F-BA04-FEC25DB2E68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2907" y="5346127"/>
            <a:ext cx="343849" cy="485434"/>
          </a:xfrm>
          <a:prstGeom prst="rect">
            <a:avLst/>
          </a:prstGeom>
        </p:spPr>
      </p:pic>
      <p:pic>
        <p:nvPicPr>
          <p:cNvPr id="575" name="Picture 574">
            <a:extLst>
              <a:ext uri="{FF2B5EF4-FFF2-40B4-BE49-F238E27FC236}">
                <a16:creationId xmlns:a16="http://schemas.microsoft.com/office/drawing/2014/main" id="{C3AEFD47-ECBC-44AA-9689-58F88D34D19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0268" y="5346127"/>
            <a:ext cx="343849" cy="485434"/>
          </a:xfrm>
          <a:prstGeom prst="rect">
            <a:avLst/>
          </a:prstGeom>
        </p:spPr>
      </p:pic>
      <p:pic>
        <p:nvPicPr>
          <p:cNvPr id="596" name="Picture 595">
            <a:extLst>
              <a:ext uri="{FF2B5EF4-FFF2-40B4-BE49-F238E27FC236}">
                <a16:creationId xmlns:a16="http://schemas.microsoft.com/office/drawing/2014/main" id="{F8A8C5A5-8CB1-447F-BA1E-36A46566073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5579" y="5346127"/>
            <a:ext cx="358497" cy="337572"/>
          </a:xfrm>
          <a:prstGeom prst="rect">
            <a:avLst/>
          </a:prstGeom>
        </p:spPr>
      </p:pic>
      <p:pic>
        <p:nvPicPr>
          <p:cNvPr id="605" name="Picture 604">
            <a:extLst>
              <a:ext uri="{FF2B5EF4-FFF2-40B4-BE49-F238E27FC236}">
                <a16:creationId xmlns:a16="http://schemas.microsoft.com/office/drawing/2014/main" id="{8DF5F19F-5345-4503-9EF2-F926F6277B7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8218" y="5346127"/>
            <a:ext cx="360588" cy="343849"/>
          </a:xfrm>
          <a:prstGeom prst="rect">
            <a:avLst/>
          </a:prstGeom>
        </p:spPr>
      </p:pic>
      <p:pic>
        <p:nvPicPr>
          <p:cNvPr id="607" name="Content Placeholder 4">
            <a:extLst>
              <a:ext uri="{FF2B5EF4-FFF2-40B4-BE49-F238E27FC236}">
                <a16:creationId xmlns:a16="http://schemas.microsoft.com/office/drawing/2014/main" id="{FBF2B36C-ACCF-401B-8F4A-D17FCF3A332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5539" y="5346127"/>
            <a:ext cx="346639" cy="485434"/>
          </a:xfrm>
          <a:prstGeom prst="rect">
            <a:avLst/>
          </a:prstGeom>
        </p:spPr>
      </p:pic>
      <p:pic>
        <p:nvPicPr>
          <p:cNvPr id="608" name="Content Placeholder 4">
            <a:extLst>
              <a:ext uri="{FF2B5EF4-FFF2-40B4-BE49-F238E27FC236}">
                <a16:creationId xmlns:a16="http://schemas.microsoft.com/office/drawing/2014/main" id="{CFE44EFB-3A5E-4B2E-95C1-2208ABA2917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3640" y="5346127"/>
            <a:ext cx="346639" cy="485434"/>
          </a:xfrm>
          <a:prstGeom prst="rect">
            <a:avLst/>
          </a:prstGeom>
        </p:spPr>
      </p:pic>
      <p:pic>
        <p:nvPicPr>
          <p:cNvPr id="609" name="Picture 608">
            <a:extLst>
              <a:ext uri="{FF2B5EF4-FFF2-40B4-BE49-F238E27FC236}">
                <a16:creationId xmlns:a16="http://schemas.microsoft.com/office/drawing/2014/main" id="{B179DF63-A236-4F4C-89D8-2E9320096B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1701" y="5346127"/>
            <a:ext cx="360588" cy="343849"/>
          </a:xfrm>
          <a:prstGeom prst="rect">
            <a:avLst/>
          </a:prstGeom>
        </p:spPr>
      </p:pic>
      <p:pic>
        <p:nvPicPr>
          <p:cNvPr id="610" name="Picture 609">
            <a:extLst>
              <a:ext uri="{FF2B5EF4-FFF2-40B4-BE49-F238E27FC236}">
                <a16:creationId xmlns:a16="http://schemas.microsoft.com/office/drawing/2014/main" id="{684DA78B-3306-4E9E-AC59-C8D287E6E45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1742" y="5346127"/>
            <a:ext cx="358497" cy="337572"/>
          </a:xfrm>
          <a:prstGeom prst="rect">
            <a:avLst/>
          </a:prstGeom>
        </p:spPr>
      </p:pic>
      <p:pic>
        <p:nvPicPr>
          <p:cNvPr id="611" name="Content Placeholder 4">
            <a:extLst>
              <a:ext uri="{FF2B5EF4-FFF2-40B4-BE49-F238E27FC236}">
                <a16:creationId xmlns:a16="http://schemas.microsoft.com/office/drawing/2014/main" id="{08EEB868-33DB-48D4-BC9C-384B4E25A62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2755" y="5346127"/>
            <a:ext cx="346639" cy="485434"/>
          </a:xfrm>
          <a:prstGeom prst="rect">
            <a:avLst/>
          </a:prstGeom>
        </p:spPr>
      </p:pic>
      <p:pic>
        <p:nvPicPr>
          <p:cNvPr id="615" name="Picture 614">
            <a:extLst>
              <a:ext uri="{FF2B5EF4-FFF2-40B4-BE49-F238E27FC236}">
                <a16:creationId xmlns:a16="http://schemas.microsoft.com/office/drawing/2014/main" id="{2AA7FFE3-ABA2-4841-9773-AE4C247937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416789" y="4871428"/>
            <a:ext cx="358497" cy="337572"/>
          </a:xfrm>
          <a:prstGeom prst="rect">
            <a:avLst/>
          </a:prstGeom>
        </p:spPr>
      </p:pic>
      <p:pic>
        <p:nvPicPr>
          <p:cNvPr id="618" name="Picture 617">
            <a:extLst>
              <a:ext uri="{FF2B5EF4-FFF2-40B4-BE49-F238E27FC236}">
                <a16:creationId xmlns:a16="http://schemas.microsoft.com/office/drawing/2014/main" id="{B407B429-F53C-47ED-A3FB-2D99090460B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997404" y="4723566"/>
            <a:ext cx="343849" cy="485434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8B54014-6B3A-49D6-B56C-5388ACE356D2}"/>
              </a:ext>
            </a:extLst>
          </p:cNvPr>
          <p:cNvGrpSpPr/>
          <p:nvPr/>
        </p:nvGrpSpPr>
        <p:grpSpPr>
          <a:xfrm>
            <a:off x="8127947" y="4723566"/>
            <a:ext cx="1478568" cy="485434"/>
            <a:chOff x="8127947" y="4723566"/>
            <a:chExt cx="1478568" cy="485434"/>
          </a:xfrm>
        </p:grpSpPr>
        <p:pic>
          <p:nvPicPr>
            <p:cNvPr id="613" name="Picture 612">
              <a:extLst>
                <a:ext uri="{FF2B5EF4-FFF2-40B4-BE49-F238E27FC236}">
                  <a16:creationId xmlns:a16="http://schemas.microsoft.com/office/drawing/2014/main" id="{5D4B396C-9901-40E0-A351-3A09EAF04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402561" y="4865151"/>
              <a:ext cx="360588" cy="343849"/>
            </a:xfrm>
            <a:prstGeom prst="rect">
              <a:avLst/>
            </a:prstGeom>
          </p:spPr>
        </p:pic>
        <p:pic>
          <p:nvPicPr>
            <p:cNvPr id="614" name="Picture 613">
              <a:extLst>
                <a:ext uri="{FF2B5EF4-FFF2-40B4-BE49-F238E27FC236}">
                  <a16:creationId xmlns:a16="http://schemas.microsoft.com/office/drawing/2014/main" id="{3B2C1343-F334-4AD5-9F7F-DD31EA81F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985267" y="4723566"/>
              <a:ext cx="343849" cy="485434"/>
            </a:xfrm>
            <a:prstGeom prst="rect">
              <a:avLst/>
            </a:prstGeom>
          </p:spPr>
        </p:pic>
        <p:pic>
          <p:nvPicPr>
            <p:cNvPr id="616" name="Picture 615">
              <a:extLst>
                <a:ext uri="{FF2B5EF4-FFF2-40B4-BE49-F238E27FC236}">
                  <a16:creationId xmlns:a16="http://schemas.microsoft.com/office/drawing/2014/main" id="{19CEE1FD-4D3A-49D8-A32D-7F90A82FE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693914" y="4865151"/>
              <a:ext cx="360588" cy="343849"/>
            </a:xfrm>
            <a:prstGeom prst="rect">
              <a:avLst/>
            </a:prstGeom>
          </p:spPr>
        </p:pic>
        <p:pic>
          <p:nvPicPr>
            <p:cNvPr id="617" name="Content Placeholder 4">
              <a:extLst>
                <a:ext uri="{FF2B5EF4-FFF2-40B4-BE49-F238E27FC236}">
                  <a16:creationId xmlns:a16="http://schemas.microsoft.com/office/drawing/2014/main" id="{20BDB4B9-06AE-4297-A145-C80DCFD25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9259876" y="4723566"/>
              <a:ext cx="346639" cy="485434"/>
            </a:xfrm>
            <a:prstGeom prst="rect">
              <a:avLst/>
            </a:prstGeom>
          </p:spPr>
        </p:pic>
        <p:pic>
          <p:nvPicPr>
            <p:cNvPr id="620" name="Picture 619">
              <a:extLst>
                <a:ext uri="{FF2B5EF4-FFF2-40B4-BE49-F238E27FC236}">
                  <a16:creationId xmlns:a16="http://schemas.microsoft.com/office/drawing/2014/main" id="{6C13F259-1B3F-4895-BAEA-BEF41A58F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8127947" y="4723566"/>
              <a:ext cx="343849" cy="485434"/>
            </a:xfrm>
            <a:prstGeom prst="rect">
              <a:avLst/>
            </a:prstGeom>
          </p:spPr>
        </p:pic>
      </p:grpSp>
      <p:pic>
        <p:nvPicPr>
          <p:cNvPr id="621" name="Picture 620">
            <a:extLst>
              <a:ext uri="{FF2B5EF4-FFF2-40B4-BE49-F238E27FC236}">
                <a16:creationId xmlns:a16="http://schemas.microsoft.com/office/drawing/2014/main" id="{36FAC0F0-801D-43BB-B117-082A59AC558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706051" y="4865151"/>
            <a:ext cx="360588" cy="343849"/>
          </a:xfrm>
          <a:prstGeom prst="rect">
            <a:avLst/>
          </a:prstGeom>
        </p:spPr>
      </p:pic>
      <p:pic>
        <p:nvPicPr>
          <p:cNvPr id="622" name="Picture 621">
            <a:extLst>
              <a:ext uri="{FF2B5EF4-FFF2-40B4-BE49-F238E27FC236}">
                <a16:creationId xmlns:a16="http://schemas.microsoft.com/office/drawing/2014/main" id="{BF029EA3-E57F-444A-9656-ED1C1AE3ACE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009542" y="4723566"/>
            <a:ext cx="343849" cy="485434"/>
          </a:xfrm>
          <a:prstGeom prst="rect">
            <a:avLst/>
          </a:prstGeom>
        </p:spPr>
      </p:pic>
      <p:pic>
        <p:nvPicPr>
          <p:cNvPr id="623" name="Picture 622">
            <a:extLst>
              <a:ext uri="{FF2B5EF4-FFF2-40B4-BE49-F238E27FC236}">
                <a16:creationId xmlns:a16="http://schemas.microsoft.com/office/drawing/2014/main" id="{0078485F-5C02-4DF4-8053-A6E3FF1E090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575509" y="4723566"/>
            <a:ext cx="343849" cy="485434"/>
          </a:xfrm>
          <a:prstGeom prst="rect">
            <a:avLst/>
          </a:prstGeom>
        </p:spPr>
      </p:pic>
      <p:pic>
        <p:nvPicPr>
          <p:cNvPr id="624" name="Picture 623">
            <a:extLst>
              <a:ext uri="{FF2B5EF4-FFF2-40B4-BE49-F238E27FC236}">
                <a16:creationId xmlns:a16="http://schemas.microsoft.com/office/drawing/2014/main" id="{FA838BCE-A142-4ACA-8241-E98DE97998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272018" y="4871428"/>
            <a:ext cx="358497" cy="337572"/>
          </a:xfrm>
          <a:prstGeom prst="rect">
            <a:avLst/>
          </a:prstGeom>
        </p:spPr>
      </p:pic>
      <p:pic>
        <p:nvPicPr>
          <p:cNvPr id="625" name="Content Placeholder 4">
            <a:extLst>
              <a:ext uri="{FF2B5EF4-FFF2-40B4-BE49-F238E27FC236}">
                <a16:creationId xmlns:a16="http://schemas.microsoft.com/office/drawing/2014/main" id="{2F635C7F-1467-40A2-9439-602FFB8F2D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139385" y="4723566"/>
            <a:ext cx="346639" cy="485434"/>
          </a:xfrm>
          <a:prstGeom prst="rect">
            <a:avLst/>
          </a:prstGeom>
        </p:spPr>
      </p:pic>
      <p:pic>
        <p:nvPicPr>
          <p:cNvPr id="626" name="Content Placeholder 4">
            <a:extLst>
              <a:ext uri="{FF2B5EF4-FFF2-40B4-BE49-F238E27FC236}">
                <a16:creationId xmlns:a16="http://schemas.microsoft.com/office/drawing/2014/main" id="{3FDA3D22-5E3F-4235-8CC1-C7B63DA3B5F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442875" y="4723566"/>
            <a:ext cx="346639" cy="485434"/>
          </a:xfrm>
          <a:prstGeom prst="rect">
            <a:avLst/>
          </a:prstGeom>
        </p:spPr>
      </p:pic>
      <p:pic>
        <p:nvPicPr>
          <p:cNvPr id="627" name="Picture 626">
            <a:extLst>
              <a:ext uri="{FF2B5EF4-FFF2-40B4-BE49-F238E27FC236}">
                <a16:creationId xmlns:a16="http://schemas.microsoft.com/office/drawing/2014/main" id="{ACD64703-6D80-47FE-A72C-ACFA404D8F0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284156" y="4865151"/>
            <a:ext cx="360588" cy="343849"/>
          </a:xfrm>
          <a:prstGeom prst="rect">
            <a:avLst/>
          </a:prstGeom>
        </p:spPr>
      </p:pic>
      <p:pic>
        <p:nvPicPr>
          <p:cNvPr id="628" name="Content Placeholder 4">
            <a:extLst>
              <a:ext uri="{FF2B5EF4-FFF2-40B4-BE49-F238E27FC236}">
                <a16:creationId xmlns:a16="http://schemas.microsoft.com/office/drawing/2014/main" id="{EE9F495A-6CA5-411E-8B3E-D7DD48A8E16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7561281" y="4723566"/>
            <a:ext cx="346639" cy="485434"/>
          </a:xfrm>
          <a:prstGeom prst="rect">
            <a:avLst/>
          </a:prstGeom>
        </p:spPr>
      </p:pic>
      <p:pic>
        <p:nvPicPr>
          <p:cNvPr id="629" name="Picture 628">
            <a:extLst>
              <a:ext uri="{FF2B5EF4-FFF2-40B4-BE49-F238E27FC236}">
                <a16:creationId xmlns:a16="http://schemas.microsoft.com/office/drawing/2014/main" id="{EF99BF34-88EE-43DB-A2B8-526DF3207C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850123" y="4871428"/>
            <a:ext cx="358497" cy="337572"/>
          </a:xfrm>
          <a:prstGeom prst="rect">
            <a:avLst/>
          </a:prstGeom>
        </p:spPr>
      </p:pic>
      <p:pic>
        <p:nvPicPr>
          <p:cNvPr id="630" name="Picture 629">
            <a:extLst>
              <a:ext uri="{FF2B5EF4-FFF2-40B4-BE49-F238E27FC236}">
                <a16:creationId xmlns:a16="http://schemas.microsoft.com/office/drawing/2014/main" id="{88DFAE13-8708-4A97-B8FF-E61CE611DA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4720280" y="4871427"/>
            <a:ext cx="358497" cy="337572"/>
          </a:xfrm>
          <a:prstGeom prst="rect">
            <a:avLst/>
          </a:prstGeom>
        </p:spPr>
      </p:pic>
      <p:sp>
        <p:nvSpPr>
          <p:cNvPr id="606" name="Oval 113">
            <a:extLst>
              <a:ext uri="{FF2B5EF4-FFF2-40B4-BE49-F238E27FC236}">
                <a16:creationId xmlns:a16="http://schemas.microsoft.com/office/drawing/2014/main" id="{70C9D3B2-973B-4172-B029-8E258BAFACC0}"/>
              </a:ext>
            </a:extLst>
          </p:cNvPr>
          <p:cNvSpPr/>
          <p:nvPr/>
        </p:nvSpPr>
        <p:spPr>
          <a:xfrm>
            <a:off x="5532290" y="5347710"/>
            <a:ext cx="692659" cy="460126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sp>
        <p:nvSpPr>
          <p:cNvPr id="258" name="Oval 113">
            <a:extLst>
              <a:ext uri="{FF2B5EF4-FFF2-40B4-BE49-F238E27FC236}">
                <a16:creationId xmlns:a16="http://schemas.microsoft.com/office/drawing/2014/main" id="{D9F021AE-207A-440D-8A4A-A17E3E81DB78}"/>
              </a:ext>
            </a:extLst>
          </p:cNvPr>
          <p:cNvSpPr/>
          <p:nvPr/>
        </p:nvSpPr>
        <p:spPr>
          <a:xfrm rot="10800000">
            <a:off x="7759906" y="4759606"/>
            <a:ext cx="692659" cy="460126"/>
          </a:xfrm>
          <a:custGeom>
            <a:avLst/>
            <a:gdLst>
              <a:gd name="connsiteX0" fmla="*/ 0 w 1756643"/>
              <a:gd name="connsiteY0" fmla="*/ 434340 h 868680"/>
              <a:gd name="connsiteX1" fmla="*/ 878322 w 1756643"/>
              <a:gd name="connsiteY1" fmla="*/ 0 h 868680"/>
              <a:gd name="connsiteX2" fmla="*/ 1756644 w 1756643"/>
              <a:gd name="connsiteY2" fmla="*/ 434340 h 868680"/>
              <a:gd name="connsiteX3" fmla="*/ 878322 w 1756643"/>
              <a:gd name="connsiteY3" fmla="*/ 868680 h 868680"/>
              <a:gd name="connsiteX4" fmla="*/ 0 w 1756643"/>
              <a:gd name="connsiteY4" fmla="*/ 434340 h 868680"/>
              <a:gd name="connsiteX0" fmla="*/ 51369 w 1808013"/>
              <a:gd name="connsiteY0" fmla="*/ 439304 h 873644"/>
              <a:gd name="connsiteX1" fmla="*/ 192572 w 1808013"/>
              <a:gd name="connsiteY1" fmla="*/ 218324 h 873644"/>
              <a:gd name="connsiteX2" fmla="*/ 929691 w 1808013"/>
              <a:gd name="connsiteY2" fmla="*/ 4964 h 873644"/>
              <a:gd name="connsiteX3" fmla="*/ 1808013 w 1808013"/>
              <a:gd name="connsiteY3" fmla="*/ 439304 h 873644"/>
              <a:gd name="connsiteX4" fmla="*/ 929691 w 1808013"/>
              <a:gd name="connsiteY4" fmla="*/ 873644 h 873644"/>
              <a:gd name="connsiteX5" fmla="*/ 51369 w 1808013"/>
              <a:gd name="connsiteY5" fmla="*/ 439304 h 873644"/>
              <a:gd name="connsiteX0" fmla="*/ 10565 w 1767209"/>
              <a:gd name="connsiteY0" fmla="*/ 442175 h 876515"/>
              <a:gd name="connsiteX1" fmla="*/ 433708 w 1767209"/>
              <a:gd name="connsiteY1" fmla="*/ 183095 h 876515"/>
              <a:gd name="connsiteX2" fmla="*/ 888887 w 1767209"/>
              <a:gd name="connsiteY2" fmla="*/ 7835 h 876515"/>
              <a:gd name="connsiteX3" fmla="*/ 1767209 w 1767209"/>
              <a:gd name="connsiteY3" fmla="*/ 442175 h 876515"/>
              <a:gd name="connsiteX4" fmla="*/ 888887 w 1767209"/>
              <a:gd name="connsiteY4" fmla="*/ 876515 h 876515"/>
              <a:gd name="connsiteX5" fmla="*/ 10565 w 1767209"/>
              <a:gd name="connsiteY5" fmla="*/ 442175 h 876515"/>
              <a:gd name="connsiteX0" fmla="*/ 406171 w 1362715"/>
              <a:gd name="connsiteY0" fmla="*/ 556475 h 877659"/>
              <a:gd name="connsiteX1" fmla="*/ 29214 w 1362715"/>
              <a:gd name="connsiteY1" fmla="*/ 183095 h 877659"/>
              <a:gd name="connsiteX2" fmla="*/ 484393 w 1362715"/>
              <a:gd name="connsiteY2" fmla="*/ 7835 h 877659"/>
              <a:gd name="connsiteX3" fmla="*/ 1362715 w 1362715"/>
              <a:gd name="connsiteY3" fmla="*/ 442175 h 877659"/>
              <a:gd name="connsiteX4" fmla="*/ 484393 w 1362715"/>
              <a:gd name="connsiteY4" fmla="*/ 876515 h 877659"/>
              <a:gd name="connsiteX5" fmla="*/ 406171 w 1362715"/>
              <a:gd name="connsiteY5" fmla="*/ 556475 h 877659"/>
              <a:gd name="connsiteX0" fmla="*/ 405551 w 1362095"/>
              <a:gd name="connsiteY0" fmla="*/ 556475 h 976425"/>
              <a:gd name="connsiteX1" fmla="*/ 28594 w 1362095"/>
              <a:gd name="connsiteY1" fmla="*/ 183095 h 976425"/>
              <a:gd name="connsiteX2" fmla="*/ 483773 w 1362095"/>
              <a:gd name="connsiteY2" fmla="*/ 7835 h 976425"/>
              <a:gd name="connsiteX3" fmla="*/ 1362095 w 1362095"/>
              <a:gd name="connsiteY3" fmla="*/ 442175 h 976425"/>
              <a:gd name="connsiteX4" fmla="*/ 407573 w 1362095"/>
              <a:gd name="connsiteY4" fmla="*/ 975575 h 976425"/>
              <a:gd name="connsiteX5" fmla="*/ 405551 w 1362095"/>
              <a:gd name="connsiteY5" fmla="*/ 556475 h 976425"/>
              <a:gd name="connsiteX0" fmla="*/ 304252 w 1260796"/>
              <a:gd name="connsiteY0" fmla="*/ 552341 h 972265"/>
              <a:gd name="connsiteX1" fmla="*/ 33975 w 1260796"/>
              <a:gd name="connsiteY1" fmla="*/ 239921 h 972265"/>
              <a:gd name="connsiteX2" fmla="*/ 382474 w 1260796"/>
              <a:gd name="connsiteY2" fmla="*/ 3701 h 972265"/>
              <a:gd name="connsiteX3" fmla="*/ 1260796 w 1260796"/>
              <a:gd name="connsiteY3" fmla="*/ 438041 h 972265"/>
              <a:gd name="connsiteX4" fmla="*/ 306274 w 1260796"/>
              <a:gd name="connsiteY4" fmla="*/ 971441 h 972265"/>
              <a:gd name="connsiteX5" fmla="*/ 304252 w 1260796"/>
              <a:gd name="connsiteY5" fmla="*/ 552341 h 972265"/>
              <a:gd name="connsiteX0" fmla="*/ 304252 w 1267735"/>
              <a:gd name="connsiteY0" fmla="*/ 558668 h 978592"/>
              <a:gd name="connsiteX1" fmla="*/ 33975 w 1267735"/>
              <a:gd name="connsiteY1" fmla="*/ 246248 h 978592"/>
              <a:gd name="connsiteX2" fmla="*/ 382474 w 1267735"/>
              <a:gd name="connsiteY2" fmla="*/ 10028 h 978592"/>
              <a:gd name="connsiteX3" fmla="*/ 719756 w 1267735"/>
              <a:gd name="connsiteY3" fmla="*/ 84006 h 978592"/>
              <a:gd name="connsiteX4" fmla="*/ 1260796 w 1267735"/>
              <a:gd name="connsiteY4" fmla="*/ 444368 h 978592"/>
              <a:gd name="connsiteX5" fmla="*/ 306274 w 1267735"/>
              <a:gd name="connsiteY5" fmla="*/ 977768 h 978592"/>
              <a:gd name="connsiteX6" fmla="*/ 304252 w 1267735"/>
              <a:gd name="connsiteY6" fmla="*/ 558668 h 978592"/>
              <a:gd name="connsiteX0" fmla="*/ 304252 w 1279303"/>
              <a:gd name="connsiteY0" fmla="*/ 554942 h 974866"/>
              <a:gd name="connsiteX1" fmla="*/ 33975 w 1279303"/>
              <a:gd name="connsiteY1" fmla="*/ 242522 h 974866"/>
              <a:gd name="connsiteX2" fmla="*/ 382474 w 1279303"/>
              <a:gd name="connsiteY2" fmla="*/ 6302 h 974866"/>
              <a:gd name="connsiteX3" fmla="*/ 1048088 w 1279303"/>
              <a:gd name="connsiteY3" fmla="*/ 100535 h 974866"/>
              <a:gd name="connsiteX4" fmla="*/ 1260796 w 1279303"/>
              <a:gd name="connsiteY4" fmla="*/ 440642 h 974866"/>
              <a:gd name="connsiteX5" fmla="*/ 306274 w 1279303"/>
              <a:gd name="connsiteY5" fmla="*/ 974042 h 974866"/>
              <a:gd name="connsiteX6" fmla="*/ 304252 w 1279303"/>
              <a:gd name="connsiteY6" fmla="*/ 554942 h 974866"/>
              <a:gd name="connsiteX0" fmla="*/ 304252 w 1263460"/>
              <a:gd name="connsiteY0" fmla="*/ 554942 h 976019"/>
              <a:gd name="connsiteX1" fmla="*/ 33975 w 1263460"/>
              <a:gd name="connsiteY1" fmla="*/ 242522 h 976019"/>
              <a:gd name="connsiteX2" fmla="*/ 382474 w 1263460"/>
              <a:gd name="connsiteY2" fmla="*/ 6302 h 976019"/>
              <a:gd name="connsiteX3" fmla="*/ 1048088 w 1263460"/>
              <a:gd name="connsiteY3" fmla="*/ 100535 h 976019"/>
              <a:gd name="connsiteX4" fmla="*/ 1260796 w 1263460"/>
              <a:gd name="connsiteY4" fmla="*/ 440642 h 976019"/>
              <a:gd name="connsiteX5" fmla="*/ 933172 w 1263460"/>
              <a:gd name="connsiteY5" fmla="*/ 701451 h 976019"/>
              <a:gd name="connsiteX6" fmla="*/ 306274 w 1263460"/>
              <a:gd name="connsiteY6" fmla="*/ 974042 h 976019"/>
              <a:gd name="connsiteX7" fmla="*/ 304252 w 1263460"/>
              <a:gd name="connsiteY7" fmla="*/ 554942 h 976019"/>
              <a:gd name="connsiteX0" fmla="*/ 304252 w 1263460"/>
              <a:gd name="connsiteY0" fmla="*/ 554942 h 978488"/>
              <a:gd name="connsiteX1" fmla="*/ 33975 w 1263460"/>
              <a:gd name="connsiteY1" fmla="*/ 242522 h 978488"/>
              <a:gd name="connsiteX2" fmla="*/ 382474 w 1263460"/>
              <a:gd name="connsiteY2" fmla="*/ 6302 h 978488"/>
              <a:gd name="connsiteX3" fmla="*/ 1048088 w 1263460"/>
              <a:gd name="connsiteY3" fmla="*/ 100535 h 978488"/>
              <a:gd name="connsiteX4" fmla="*/ 1260796 w 1263460"/>
              <a:gd name="connsiteY4" fmla="*/ 440642 h 978488"/>
              <a:gd name="connsiteX5" fmla="*/ 1124699 w 1263460"/>
              <a:gd name="connsiteY5" fmla="*/ 755467 h 978488"/>
              <a:gd name="connsiteX6" fmla="*/ 306274 w 1263460"/>
              <a:gd name="connsiteY6" fmla="*/ 974042 h 978488"/>
              <a:gd name="connsiteX7" fmla="*/ 304252 w 1263460"/>
              <a:gd name="connsiteY7" fmla="*/ 554942 h 978488"/>
              <a:gd name="connsiteX0" fmla="*/ 304252 w 1193817"/>
              <a:gd name="connsiteY0" fmla="*/ 554942 h 978488"/>
              <a:gd name="connsiteX1" fmla="*/ 33975 w 1193817"/>
              <a:gd name="connsiteY1" fmla="*/ 242522 h 978488"/>
              <a:gd name="connsiteX2" fmla="*/ 382474 w 1193817"/>
              <a:gd name="connsiteY2" fmla="*/ 6302 h 978488"/>
              <a:gd name="connsiteX3" fmla="*/ 1048088 w 1193817"/>
              <a:gd name="connsiteY3" fmla="*/ 100535 h 978488"/>
              <a:gd name="connsiteX4" fmla="*/ 1134935 w 1193817"/>
              <a:gd name="connsiteY4" fmla="*/ 386627 h 978488"/>
              <a:gd name="connsiteX5" fmla="*/ 1124699 w 1193817"/>
              <a:gd name="connsiteY5" fmla="*/ 755467 h 978488"/>
              <a:gd name="connsiteX6" fmla="*/ 306274 w 1193817"/>
              <a:gd name="connsiteY6" fmla="*/ 974042 h 978488"/>
              <a:gd name="connsiteX7" fmla="*/ 304252 w 1193817"/>
              <a:gd name="connsiteY7" fmla="*/ 554942 h 97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93817" h="978488">
                <a:moveTo>
                  <a:pt x="304252" y="554942"/>
                </a:moveTo>
                <a:cubicBezTo>
                  <a:pt x="258869" y="433022"/>
                  <a:pt x="-112412" y="314912"/>
                  <a:pt x="33975" y="242522"/>
                </a:cubicBezTo>
                <a:cubicBezTo>
                  <a:pt x="180362" y="170132"/>
                  <a:pt x="213455" y="29966"/>
                  <a:pt x="382474" y="6302"/>
                </a:cubicBezTo>
                <a:cubicBezTo>
                  <a:pt x="551493" y="-17362"/>
                  <a:pt x="901701" y="28145"/>
                  <a:pt x="1048088" y="100535"/>
                </a:cubicBezTo>
                <a:cubicBezTo>
                  <a:pt x="1194475" y="172925"/>
                  <a:pt x="1154088" y="286474"/>
                  <a:pt x="1134935" y="386627"/>
                </a:cubicBezTo>
                <a:cubicBezTo>
                  <a:pt x="1115782" y="486780"/>
                  <a:pt x="1283786" y="666567"/>
                  <a:pt x="1124699" y="755467"/>
                </a:cubicBezTo>
                <a:cubicBezTo>
                  <a:pt x="965612" y="844367"/>
                  <a:pt x="443015" y="1007463"/>
                  <a:pt x="306274" y="974042"/>
                </a:cubicBezTo>
                <a:cubicBezTo>
                  <a:pt x="169533" y="940621"/>
                  <a:pt x="349635" y="676862"/>
                  <a:pt x="304252" y="554942"/>
                </a:cubicBezTo>
                <a:close/>
              </a:path>
            </a:pathLst>
          </a:custGeom>
          <a:solidFill>
            <a:srgbClr val="953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Helvetica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B8EDF9F-886A-4497-B3C9-A01C806DCE5D}"/>
              </a:ext>
            </a:extLst>
          </p:cNvPr>
          <p:cNvGrpSpPr/>
          <p:nvPr/>
        </p:nvGrpSpPr>
        <p:grpSpPr>
          <a:xfrm>
            <a:off x="10557432" y="4459020"/>
            <a:ext cx="1387837" cy="1384231"/>
            <a:chOff x="10557432" y="4459020"/>
            <a:chExt cx="1387837" cy="1384231"/>
          </a:xfrm>
        </p:grpSpPr>
        <p:pic>
          <p:nvPicPr>
            <p:cNvPr id="638" name="Picture 637">
              <a:extLst>
                <a:ext uri="{FF2B5EF4-FFF2-40B4-BE49-F238E27FC236}">
                  <a16:creationId xmlns:a16="http://schemas.microsoft.com/office/drawing/2014/main" id="{8E5DC0E1-4631-46FF-A55D-2D3F17CF2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4569807">
              <a:off x="11551059" y="5477499"/>
              <a:ext cx="358497" cy="337572"/>
            </a:xfrm>
            <a:prstGeom prst="rect">
              <a:avLst/>
            </a:prstGeom>
          </p:spPr>
        </p:pic>
        <p:pic>
          <p:nvPicPr>
            <p:cNvPr id="640" name="Picture 639">
              <a:extLst>
                <a:ext uri="{FF2B5EF4-FFF2-40B4-BE49-F238E27FC236}">
                  <a16:creationId xmlns:a16="http://schemas.microsoft.com/office/drawing/2014/main" id="{17124149-9577-4D97-964F-C38971C09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10675489" y="5428610"/>
              <a:ext cx="360588" cy="343849"/>
            </a:xfrm>
            <a:prstGeom prst="rect">
              <a:avLst/>
            </a:prstGeom>
          </p:spPr>
        </p:pic>
        <p:pic>
          <p:nvPicPr>
            <p:cNvPr id="641" name="Picture 640">
              <a:extLst>
                <a:ext uri="{FF2B5EF4-FFF2-40B4-BE49-F238E27FC236}">
                  <a16:creationId xmlns:a16="http://schemas.microsoft.com/office/drawing/2014/main" id="{2B033F5D-6F12-467C-A45F-E96553634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984820">
              <a:off x="11530627" y="4884383"/>
              <a:ext cx="343849" cy="485434"/>
            </a:xfrm>
            <a:prstGeom prst="rect">
              <a:avLst/>
            </a:prstGeom>
          </p:spPr>
        </p:pic>
        <p:pic>
          <p:nvPicPr>
            <p:cNvPr id="642" name="Picture 641">
              <a:extLst>
                <a:ext uri="{FF2B5EF4-FFF2-40B4-BE49-F238E27FC236}">
                  <a16:creationId xmlns:a16="http://schemas.microsoft.com/office/drawing/2014/main" id="{A3CE4E84-6460-4955-AA62-4B2AFE130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296527">
              <a:off x="10557432" y="4818194"/>
              <a:ext cx="343849" cy="485434"/>
            </a:xfrm>
            <a:prstGeom prst="rect">
              <a:avLst/>
            </a:prstGeom>
          </p:spPr>
        </p:pic>
        <p:pic>
          <p:nvPicPr>
            <p:cNvPr id="643" name="Picture 642">
              <a:extLst>
                <a:ext uri="{FF2B5EF4-FFF2-40B4-BE49-F238E27FC236}">
                  <a16:creationId xmlns:a16="http://schemas.microsoft.com/office/drawing/2014/main" id="{B81D5594-1568-4AEB-A4EB-0E1E341EE0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0800000">
              <a:off x="10906760" y="4565834"/>
              <a:ext cx="358497" cy="337572"/>
            </a:xfrm>
            <a:prstGeom prst="rect">
              <a:avLst/>
            </a:prstGeom>
          </p:spPr>
        </p:pic>
        <p:pic>
          <p:nvPicPr>
            <p:cNvPr id="644" name="Picture 643">
              <a:extLst>
                <a:ext uri="{FF2B5EF4-FFF2-40B4-BE49-F238E27FC236}">
                  <a16:creationId xmlns:a16="http://schemas.microsoft.com/office/drawing/2014/main" id="{D2AF62E6-443D-405F-BEE4-5890E9920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185474">
              <a:off x="11002242" y="4961165"/>
              <a:ext cx="360588" cy="343849"/>
            </a:xfrm>
            <a:prstGeom prst="rect">
              <a:avLst/>
            </a:prstGeom>
          </p:spPr>
        </p:pic>
        <p:pic>
          <p:nvPicPr>
            <p:cNvPr id="645" name="Content Placeholder 4">
              <a:extLst>
                <a:ext uri="{FF2B5EF4-FFF2-40B4-BE49-F238E27FC236}">
                  <a16:creationId xmlns:a16="http://schemas.microsoft.com/office/drawing/2014/main" id="{2F0F407F-F470-46D0-9DA7-EEFDBB8A4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221237">
              <a:off x="11465525" y="4480849"/>
              <a:ext cx="346639" cy="485434"/>
            </a:xfrm>
            <a:prstGeom prst="rect">
              <a:avLst/>
            </a:prstGeom>
          </p:spPr>
        </p:pic>
        <p:pic>
          <p:nvPicPr>
            <p:cNvPr id="646" name="Content Placeholder 4">
              <a:extLst>
                <a:ext uri="{FF2B5EF4-FFF2-40B4-BE49-F238E27FC236}">
                  <a16:creationId xmlns:a16="http://schemas.microsoft.com/office/drawing/2014/main" id="{F0A1A64B-3BA1-43AF-8F0D-AFE374E37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014223">
              <a:off x="11114902" y="5357817"/>
              <a:ext cx="346639" cy="485434"/>
            </a:xfrm>
            <a:prstGeom prst="rect">
              <a:avLst/>
            </a:prstGeom>
          </p:spPr>
        </p:pic>
        <p:pic>
          <p:nvPicPr>
            <p:cNvPr id="648" name="Picture 647">
              <a:extLst>
                <a:ext uri="{FF2B5EF4-FFF2-40B4-BE49-F238E27FC236}">
                  <a16:creationId xmlns:a16="http://schemas.microsoft.com/office/drawing/2014/main" id="{B3F70704-EEBD-43DD-A95D-27C99BAD8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4974470">
              <a:off x="11244415" y="4469483"/>
              <a:ext cx="358497" cy="337572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913A223-DBA6-4334-9517-271802C133D6}"/>
              </a:ext>
            </a:extLst>
          </p:cNvPr>
          <p:cNvGrpSpPr/>
          <p:nvPr/>
        </p:nvGrpSpPr>
        <p:grpSpPr>
          <a:xfrm>
            <a:off x="4384701" y="1299876"/>
            <a:ext cx="5177588" cy="485434"/>
            <a:chOff x="4384701" y="1299876"/>
            <a:chExt cx="5177588" cy="485434"/>
          </a:xfrm>
        </p:grpSpPr>
        <p:pic>
          <p:nvPicPr>
            <p:cNvPr id="209" name="Picture 208">
              <a:extLst>
                <a:ext uri="{FF2B5EF4-FFF2-40B4-BE49-F238E27FC236}">
                  <a16:creationId xmlns:a16="http://schemas.microsoft.com/office/drawing/2014/main" id="{769FE0B4-4DDD-485F-8F75-CB27526D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5394" y="1299876"/>
              <a:ext cx="360588" cy="343849"/>
            </a:xfrm>
            <a:prstGeom prst="rect">
              <a:avLst/>
            </a:prstGeom>
          </p:spPr>
        </p:pic>
        <p:pic>
          <p:nvPicPr>
            <p:cNvPr id="211" name="Picture 210">
              <a:extLst>
                <a:ext uri="{FF2B5EF4-FFF2-40B4-BE49-F238E27FC236}">
                  <a16:creationId xmlns:a16="http://schemas.microsoft.com/office/drawing/2014/main" id="{A101158F-EB65-4C3E-A02B-29FDC67398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76751" y="1299876"/>
              <a:ext cx="343849" cy="485434"/>
            </a:xfrm>
            <a:prstGeom prst="rect">
              <a:avLst/>
            </a:prstGeom>
          </p:spPr>
        </p:pic>
        <p:pic>
          <p:nvPicPr>
            <p:cNvPr id="212" name="Picture 211">
              <a:extLst>
                <a:ext uri="{FF2B5EF4-FFF2-40B4-BE49-F238E27FC236}">
                  <a16:creationId xmlns:a16="http://schemas.microsoft.com/office/drawing/2014/main" id="{AD7AB580-AC91-443E-98C1-BF28E3089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2062" y="1299876"/>
              <a:ext cx="358497" cy="337572"/>
            </a:xfrm>
            <a:prstGeom prst="rect">
              <a:avLst/>
            </a:prstGeom>
          </p:spPr>
        </p:pic>
        <p:pic>
          <p:nvPicPr>
            <p:cNvPr id="213" name="Picture 212">
              <a:extLst>
                <a:ext uri="{FF2B5EF4-FFF2-40B4-BE49-F238E27FC236}">
                  <a16:creationId xmlns:a16="http://schemas.microsoft.com/office/drawing/2014/main" id="{0A0010D6-4A0E-4665-885F-5ECEDE77C2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4701" y="1299876"/>
              <a:ext cx="360588" cy="343849"/>
            </a:xfrm>
            <a:prstGeom prst="rect">
              <a:avLst/>
            </a:prstGeom>
          </p:spPr>
        </p:pic>
        <p:pic>
          <p:nvPicPr>
            <p:cNvPr id="214" name="Content Placeholder 4">
              <a:extLst>
                <a:ext uri="{FF2B5EF4-FFF2-40B4-BE49-F238E27FC236}">
                  <a16:creationId xmlns:a16="http://schemas.microsoft.com/office/drawing/2014/main" id="{2688473A-5080-4426-AD6B-4C5C4A838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022" y="1299876"/>
              <a:ext cx="346639" cy="485434"/>
            </a:xfrm>
            <a:prstGeom prst="rect">
              <a:avLst/>
            </a:prstGeom>
          </p:spPr>
        </p:pic>
        <p:pic>
          <p:nvPicPr>
            <p:cNvPr id="215" name="Picture 214">
              <a:extLst>
                <a:ext uri="{FF2B5EF4-FFF2-40B4-BE49-F238E27FC236}">
                  <a16:creationId xmlns:a16="http://schemas.microsoft.com/office/drawing/2014/main" id="{C9937F00-D6B6-4EA8-AD29-8A7EF16C2D0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10083" y="1299876"/>
              <a:ext cx="343849" cy="485434"/>
            </a:xfrm>
            <a:prstGeom prst="rect">
              <a:avLst/>
            </a:prstGeom>
          </p:spPr>
        </p:pic>
        <p:pic>
          <p:nvPicPr>
            <p:cNvPr id="216" name="Picture 215">
              <a:extLst>
                <a:ext uri="{FF2B5EF4-FFF2-40B4-BE49-F238E27FC236}">
                  <a16:creationId xmlns:a16="http://schemas.microsoft.com/office/drawing/2014/main" id="{209DC1D3-1BC2-4704-B2D1-0BBD7C8C4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20123" y="1299876"/>
              <a:ext cx="358497" cy="337572"/>
            </a:xfrm>
            <a:prstGeom prst="rect">
              <a:avLst/>
            </a:prstGeom>
          </p:spPr>
        </p:pic>
        <p:pic>
          <p:nvPicPr>
            <p:cNvPr id="217" name="Picture 216">
              <a:extLst>
                <a:ext uri="{FF2B5EF4-FFF2-40B4-BE49-F238E27FC236}">
                  <a16:creationId xmlns:a16="http://schemas.microsoft.com/office/drawing/2014/main" id="{FAA5E4C8-A910-4186-ADE9-DDD25AA7B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7444" y="1299876"/>
              <a:ext cx="343849" cy="485434"/>
            </a:xfrm>
            <a:prstGeom prst="rect">
              <a:avLst/>
            </a:prstGeom>
          </p:spPr>
        </p:pic>
        <p:pic>
          <p:nvPicPr>
            <p:cNvPr id="287" name="Picture 286">
              <a:extLst>
                <a:ext uri="{FF2B5EF4-FFF2-40B4-BE49-F238E27FC236}">
                  <a16:creationId xmlns:a16="http://schemas.microsoft.com/office/drawing/2014/main" id="{82020E18-3C42-4BB1-B34B-1DE7807CC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2907" y="1299876"/>
              <a:ext cx="343849" cy="485434"/>
            </a:xfrm>
            <a:prstGeom prst="rect">
              <a:avLst/>
            </a:prstGeom>
          </p:spPr>
        </p:pic>
        <p:pic>
          <p:nvPicPr>
            <p:cNvPr id="288" name="Picture 287">
              <a:extLst>
                <a:ext uri="{FF2B5EF4-FFF2-40B4-BE49-F238E27FC236}">
                  <a16:creationId xmlns:a16="http://schemas.microsoft.com/office/drawing/2014/main" id="{C32925B7-D6FA-4651-9E17-785F59E3D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0268" y="1299876"/>
              <a:ext cx="343849" cy="485434"/>
            </a:xfrm>
            <a:prstGeom prst="rect">
              <a:avLst/>
            </a:prstGeom>
          </p:spPr>
        </p:pic>
        <p:pic>
          <p:nvPicPr>
            <p:cNvPr id="289" name="Picture 288">
              <a:extLst>
                <a:ext uri="{FF2B5EF4-FFF2-40B4-BE49-F238E27FC236}">
                  <a16:creationId xmlns:a16="http://schemas.microsoft.com/office/drawing/2014/main" id="{EA247956-8B3C-4E97-A21E-6943771AF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5579" y="1299876"/>
              <a:ext cx="358497" cy="337572"/>
            </a:xfrm>
            <a:prstGeom prst="rect">
              <a:avLst/>
            </a:prstGeom>
          </p:spPr>
        </p:pic>
        <p:pic>
          <p:nvPicPr>
            <p:cNvPr id="290" name="Picture 289">
              <a:extLst>
                <a:ext uri="{FF2B5EF4-FFF2-40B4-BE49-F238E27FC236}">
                  <a16:creationId xmlns:a16="http://schemas.microsoft.com/office/drawing/2014/main" id="{BC0329D5-C30D-47B3-A51D-A4F119337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8218" y="1299876"/>
              <a:ext cx="360588" cy="343849"/>
            </a:xfrm>
            <a:prstGeom prst="rect">
              <a:avLst/>
            </a:prstGeom>
          </p:spPr>
        </p:pic>
        <p:pic>
          <p:nvPicPr>
            <p:cNvPr id="291" name="Content Placeholder 4">
              <a:extLst>
                <a:ext uri="{FF2B5EF4-FFF2-40B4-BE49-F238E27FC236}">
                  <a16:creationId xmlns:a16="http://schemas.microsoft.com/office/drawing/2014/main" id="{A1CC4F08-CD1F-423D-9979-FF15C08F7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55539" y="1299876"/>
              <a:ext cx="346639" cy="485434"/>
            </a:xfrm>
            <a:prstGeom prst="rect">
              <a:avLst/>
            </a:prstGeom>
          </p:spPr>
        </p:pic>
        <p:pic>
          <p:nvPicPr>
            <p:cNvPr id="292" name="Content Placeholder 4">
              <a:extLst>
                <a:ext uri="{FF2B5EF4-FFF2-40B4-BE49-F238E27FC236}">
                  <a16:creationId xmlns:a16="http://schemas.microsoft.com/office/drawing/2014/main" id="{B6B866AB-9E01-4A3B-A121-A5696FDA616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3640" y="1299876"/>
              <a:ext cx="346639" cy="485434"/>
            </a:xfrm>
            <a:prstGeom prst="rect">
              <a:avLst/>
            </a:prstGeom>
          </p:spPr>
        </p:pic>
        <p:pic>
          <p:nvPicPr>
            <p:cNvPr id="293" name="Picture 292">
              <a:extLst>
                <a:ext uri="{FF2B5EF4-FFF2-40B4-BE49-F238E27FC236}">
                  <a16:creationId xmlns:a16="http://schemas.microsoft.com/office/drawing/2014/main" id="{D0491F88-B574-40A8-8740-265A09E68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701" y="1299876"/>
              <a:ext cx="360588" cy="343849"/>
            </a:xfrm>
            <a:prstGeom prst="rect">
              <a:avLst/>
            </a:prstGeom>
          </p:spPr>
        </p:pic>
        <p:pic>
          <p:nvPicPr>
            <p:cNvPr id="294" name="Picture 293">
              <a:extLst>
                <a:ext uri="{FF2B5EF4-FFF2-40B4-BE49-F238E27FC236}">
                  <a16:creationId xmlns:a16="http://schemas.microsoft.com/office/drawing/2014/main" id="{54076FFF-24F2-47A1-A9D7-08B202ADD1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911742" y="1299876"/>
              <a:ext cx="358497" cy="337572"/>
            </a:xfrm>
            <a:prstGeom prst="rect">
              <a:avLst/>
            </a:prstGeom>
          </p:spPr>
        </p:pic>
        <p:pic>
          <p:nvPicPr>
            <p:cNvPr id="295" name="Content Placeholder 4">
              <a:extLst>
                <a:ext uri="{FF2B5EF4-FFF2-40B4-BE49-F238E27FC236}">
                  <a16:creationId xmlns:a16="http://schemas.microsoft.com/office/drawing/2014/main" id="{7CC64CA7-D9FD-45E3-9A70-F536F70B76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52755" y="1299876"/>
              <a:ext cx="346639" cy="485434"/>
            </a:xfrm>
            <a:prstGeom prst="rect">
              <a:avLst/>
            </a:prstGeom>
          </p:spPr>
        </p:pic>
        <p:pic>
          <p:nvPicPr>
            <p:cNvPr id="191" name="Picture 190">
              <a:extLst>
                <a:ext uri="{FF2B5EF4-FFF2-40B4-BE49-F238E27FC236}">
                  <a16:creationId xmlns:a16="http://schemas.microsoft.com/office/drawing/2014/main" id="{39A87492-3AA2-4245-BEC5-6A6F520751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2948" y="1299876"/>
              <a:ext cx="358497" cy="337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629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7037E-7 L -0.00247 0.0409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" y="2037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2.77556E-17 L 0.00222 -0.0361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" y="-180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indefinite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indefinite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indefinit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4" dur="indefinite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75E-6 -4.44444E-6 L 0.14765 0.06737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83" y="335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-3.7037E-7 L -0.14726 -0.05694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370" y="-284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7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indefinite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0" dur="indefinite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3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6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69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indefinite"/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2" dur="indefinite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42" presetClass="path" presetSubtype="0" accel="52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44444E-6 L 0.34597 0.00278 " pathEditMode="relative" rAng="0" ptsTypes="AA">
                                      <p:cBhvr>
                                        <p:cTn id="93" dur="3500" fill="hold"/>
                                        <p:tgtEl>
                                          <p:spTgt spid="6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292" y="139"/>
                                    </p:animMotion>
                                  </p:childTnLst>
                                </p:cTn>
                              </p:par>
                              <p:par>
                                <p:cTn id="94" presetID="42" presetClass="path" presetSubtype="0" accel="52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3.7037E-6 L -0.34049 0.00069 " pathEditMode="relative" rAng="0" ptsTypes="AA">
                                      <p:cBhvr>
                                        <p:cTn id="95" dur="3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031" y="23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5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6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6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6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5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6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5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6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6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6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6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6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5" grpId="1"/>
      <p:bldP spid="675" grpId="0"/>
      <p:bldP spid="676" grpId="0"/>
      <p:bldP spid="253" grpId="0"/>
      <p:bldP spid="253" grpId="1"/>
      <p:bldP spid="606" grpId="0" animBg="1"/>
      <p:bldP spid="606" grpId="1" animBg="1"/>
      <p:bldP spid="258" grpId="0" animBg="1"/>
      <p:bldP spid="258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1160" y="263525"/>
            <a:ext cx="10819476" cy="1325563"/>
          </a:xfrm>
        </p:spPr>
        <p:txBody>
          <a:bodyPr/>
          <a:lstStyle/>
          <a:p>
            <a:r>
              <a:rPr lang="en-US" dirty="0"/>
              <a:t>Exponential Amplific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3626" y="1435081"/>
            <a:ext cx="7045048" cy="4572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0225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iniPCR bio Template PPT 080719_Apertura copia copy 15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mal Cycle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86DCA8-4007-8746-BE42-F057418B4BB9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62379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604DA-044A-44FA-9BF7-BEE253149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do we already know about genotyp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1CDBF9-DB10-4223-9F11-60E657DCFE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944" y="1959767"/>
            <a:ext cx="984504" cy="45429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Dad:		  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550F80-BB18-420C-9F1C-1023DAF4D67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101726" y="2646650"/>
            <a:ext cx="2477405" cy="19346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40D43B-AE3B-417F-8FD4-28FFD065F4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984524" y="2649138"/>
            <a:ext cx="2482385" cy="19346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21E41FF-5B77-495B-B883-797748D0FB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39470" y="2649140"/>
            <a:ext cx="2482394" cy="193464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B99F4E1-8BD2-46BC-9DD8-3D91761C75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223646" y="2646652"/>
            <a:ext cx="2477409" cy="193463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7974DB8-CFC5-41B4-809A-864965F84710}"/>
              </a:ext>
            </a:extLst>
          </p:cNvPr>
          <p:cNvSpPr txBox="1"/>
          <p:nvPr/>
        </p:nvSpPr>
        <p:spPr>
          <a:xfrm>
            <a:off x="1278483" y="1767734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688BA04-AE46-4601-B7C0-AD3EE2254CF4}"/>
              </a:ext>
            </a:extLst>
          </p:cNvPr>
          <p:cNvSpPr/>
          <p:nvPr/>
        </p:nvSpPr>
        <p:spPr>
          <a:xfrm>
            <a:off x="3495025" y="1959767"/>
            <a:ext cx="984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Mom: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C3CAA7-D18B-49F5-B6C8-5A919CA1513D}"/>
              </a:ext>
            </a:extLst>
          </p:cNvPr>
          <p:cNvSpPr/>
          <p:nvPr/>
        </p:nvSpPr>
        <p:spPr>
          <a:xfrm>
            <a:off x="6376710" y="1959767"/>
            <a:ext cx="51489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D1:		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62C56F-C39A-4BAA-A608-262BFCCBF9D3}"/>
              </a:ext>
            </a:extLst>
          </p:cNvPr>
          <p:cNvSpPr/>
          <p:nvPr/>
        </p:nvSpPr>
        <p:spPr>
          <a:xfrm>
            <a:off x="9258396" y="1959767"/>
            <a:ext cx="7489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2D73"/>
                </a:solidFill>
                <a:latin typeface="Helvetica"/>
                <a:cs typeface="Helvetica"/>
              </a:rPr>
              <a:t>D2: 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7FA46D-3DE3-4382-919D-C531372BE7FD}"/>
              </a:ext>
            </a:extLst>
          </p:cNvPr>
          <p:cNvSpPr txBox="1"/>
          <p:nvPr/>
        </p:nvSpPr>
        <p:spPr>
          <a:xfrm>
            <a:off x="4348182" y="1761660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19C4DA3-EE06-42B2-B729-EFD4CF2A8233}"/>
              </a:ext>
            </a:extLst>
          </p:cNvPr>
          <p:cNvSpPr txBox="1"/>
          <p:nvPr/>
        </p:nvSpPr>
        <p:spPr>
          <a:xfrm>
            <a:off x="6962589" y="1767731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80A6BD3-202D-476C-9569-C1C70AC014C4}"/>
              </a:ext>
            </a:extLst>
          </p:cNvPr>
          <p:cNvSpPr txBox="1"/>
          <p:nvPr/>
        </p:nvSpPr>
        <p:spPr>
          <a:xfrm>
            <a:off x="9851255" y="1767732"/>
            <a:ext cx="74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0687AA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_</a:t>
            </a:r>
          </a:p>
        </p:txBody>
      </p:sp>
    </p:spTree>
    <p:extLst>
      <p:ext uri="{BB962C8B-B14F-4D97-AF65-F5344CB8AC3E}">
        <p14:creationId xmlns:p14="http://schemas.microsoft.com/office/powerpoint/2010/main" val="2110307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  <p:bldP spid="16" grpId="0"/>
      <p:bldP spid="1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859146" y="4251637"/>
            <a:ext cx="152609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tgtggc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caccg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50"/>
          <a:stretch/>
        </p:blipFill>
        <p:spPr>
          <a:xfrm rot="5400000">
            <a:off x="3529930" y="3457245"/>
            <a:ext cx="273393" cy="2457064"/>
          </a:xfrm>
          <a:prstGeom prst="rect">
            <a:avLst/>
          </a:prstGeom>
        </p:spPr>
      </p:pic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830794" y="3630986"/>
            <a:ext cx="2180610" cy="2185416"/>
          </a:xfrm>
          <a:prstGeom prst="ellipse">
            <a:avLst/>
          </a:prstGeom>
          <a:noFill/>
          <a:ln>
            <a:solidFill>
              <a:srgbClr val="F898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5620476" y="4256399"/>
            <a:ext cx="3766601" cy="875552"/>
            <a:chOff x="4954996" y="2651715"/>
            <a:chExt cx="376660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84"/>
            <a:stretch/>
          </p:blipFill>
          <p:spPr>
            <a:xfrm rot="5400000">
              <a:off x="7356368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54996" y="2651715"/>
              <a:ext cx="1407703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agcctctg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gac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triction enzymes</a:t>
            </a:r>
            <a:endParaRPr lang="en-US" sz="36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5468461" y="4323803"/>
            <a:ext cx="773589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5796990" y="5143590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cognize specific DNA sequences and cut the DN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1CA39A3-7412-467C-BEBD-06A5C7BF17AD}"/>
              </a:ext>
            </a:extLst>
          </p:cNvPr>
          <p:cNvSpPr/>
          <p:nvPr/>
        </p:nvSpPr>
        <p:spPr>
          <a:xfrm>
            <a:off x="1840764" y="2312307"/>
            <a:ext cx="2762295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AATT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TTAAG…5’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19A34A-5AB2-4748-8D97-FE41C560F4D9}"/>
              </a:ext>
            </a:extLst>
          </p:cNvPr>
          <p:cNvSpPr txBox="1"/>
          <p:nvPr/>
        </p:nvSpPr>
        <p:spPr>
          <a:xfrm>
            <a:off x="634365" y="2508316"/>
            <a:ext cx="1408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 err="1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co</a:t>
            </a:r>
            <a:r>
              <a:rPr lang="en-US" sz="2400" dirty="0" err="1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</a:t>
            </a:r>
            <a:endParaRPr lang="en-US" sz="2400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CDCA82B-C53B-4CBD-B9DC-AD4F73FFB1E8}"/>
              </a:ext>
            </a:extLst>
          </p:cNvPr>
          <p:cNvGrpSpPr/>
          <p:nvPr/>
        </p:nvGrpSpPr>
        <p:grpSpPr>
          <a:xfrm>
            <a:off x="2788444" y="2325130"/>
            <a:ext cx="869156" cy="891827"/>
            <a:chOff x="2788444" y="2325130"/>
            <a:chExt cx="869156" cy="891827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25C31A9-814D-4D11-8FED-CCFF8C94BEB0}"/>
                </a:ext>
              </a:extLst>
            </p:cNvPr>
            <p:cNvCxnSpPr/>
            <p:nvPr/>
          </p:nvCxnSpPr>
          <p:spPr>
            <a:xfrm>
              <a:off x="2788444" y="2325130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697D8DC-41BA-4D7F-8E08-2B64C026F362}"/>
                </a:ext>
              </a:extLst>
            </p:cNvPr>
            <p:cNvCxnSpPr/>
            <p:nvPr/>
          </p:nvCxnSpPr>
          <p:spPr>
            <a:xfrm>
              <a:off x="3657600" y="2757489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5808082-24B4-4B5D-888F-F687DAD744F4}"/>
                </a:ext>
              </a:extLst>
            </p:cNvPr>
            <p:cNvCxnSpPr>
              <a:cxnSpLocks/>
            </p:cNvCxnSpPr>
            <p:nvPr/>
          </p:nvCxnSpPr>
          <p:spPr>
            <a:xfrm>
              <a:off x="2788444" y="2771775"/>
              <a:ext cx="869156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1F0E7816-13C6-4F8A-9D22-A3798C11E952}"/>
              </a:ext>
            </a:extLst>
          </p:cNvPr>
          <p:cNvSpPr/>
          <p:nvPr/>
        </p:nvSpPr>
        <p:spPr>
          <a:xfrm>
            <a:off x="7123258" y="2317766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</a:t>
            </a:r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G</a:t>
            </a:r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CG…5’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BC2793-2527-4FFA-8B58-FDC855182010}"/>
              </a:ext>
            </a:extLst>
          </p:cNvPr>
          <p:cNvSpPr txBox="1"/>
          <p:nvPr/>
        </p:nvSpPr>
        <p:spPr>
          <a:xfrm>
            <a:off x="5809458" y="2513775"/>
            <a:ext cx="14077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nu</a:t>
            </a: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HI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F5DEB4F-7C9B-48B4-A75A-2CF0F913AE4E}"/>
              </a:ext>
            </a:extLst>
          </p:cNvPr>
          <p:cNvGrpSpPr/>
          <p:nvPr/>
        </p:nvGrpSpPr>
        <p:grpSpPr>
          <a:xfrm>
            <a:off x="8284369" y="2348905"/>
            <a:ext cx="221456" cy="891827"/>
            <a:chOff x="2788444" y="2325130"/>
            <a:chExt cx="869156" cy="891827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49E9F208-3F39-4701-AAE8-9D8759417BDB}"/>
                </a:ext>
              </a:extLst>
            </p:cNvPr>
            <p:cNvCxnSpPr/>
            <p:nvPr/>
          </p:nvCxnSpPr>
          <p:spPr>
            <a:xfrm>
              <a:off x="2788444" y="2325130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50078FC-DCAB-4526-AACA-53598B74A053}"/>
                </a:ext>
              </a:extLst>
            </p:cNvPr>
            <p:cNvCxnSpPr/>
            <p:nvPr/>
          </p:nvCxnSpPr>
          <p:spPr>
            <a:xfrm>
              <a:off x="3657600" y="2757489"/>
              <a:ext cx="0" cy="45946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BD4F395-ED9C-4F38-9907-682C31286370}"/>
                </a:ext>
              </a:extLst>
            </p:cNvPr>
            <p:cNvCxnSpPr>
              <a:cxnSpLocks/>
            </p:cNvCxnSpPr>
            <p:nvPr/>
          </p:nvCxnSpPr>
          <p:spPr>
            <a:xfrm>
              <a:off x="2788444" y="2771775"/>
              <a:ext cx="869156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385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7.40741E-7 L 0.20612 0.00139 " pathEditMode="relative" rAng="0" ptsTypes="AA">
                                      <p:cBhvr>
                                        <p:cTn id="44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500"/>
                            </p:stCondLst>
                            <p:childTnLst>
                              <p:par>
                                <p:cTn id="46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44" grpId="0" animBg="1"/>
      <p:bldP spid="44" grpId="1" animBg="1"/>
      <p:bldP spid="24" grpId="0" animBg="1"/>
      <p:bldP spid="24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64450" y="1852561"/>
            <a:ext cx="273393" cy="24570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7AF8283-BCDE-4610-90AD-72B237594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966041" y="3850190"/>
            <a:ext cx="273393" cy="245706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D6234F4-8A7B-42C2-A38C-B7DA9F5056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8975" y="3850189"/>
            <a:ext cx="273393" cy="2457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CR-RFLP  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1F9F36-DAD1-924A-9716-8CB112426E30}"/>
              </a:ext>
            </a:extLst>
          </p:cNvPr>
          <p:cNvSpPr txBox="1"/>
          <p:nvPr/>
        </p:nvSpPr>
        <p:spPr>
          <a:xfrm>
            <a:off x="99712" y="2177885"/>
            <a:ext cx="256563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ster allele - SNP78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66E78A-4AE0-4D46-97D9-30D0980D7B70}"/>
              </a:ext>
            </a:extLst>
          </p:cNvPr>
          <p:cNvSpPr/>
          <p:nvPr/>
        </p:nvSpPr>
        <p:spPr bwMode="auto">
          <a:xfrm>
            <a:off x="4193666" y="4659681"/>
            <a:ext cx="170107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T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cct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gga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E7170C-BC79-2B42-9FCC-29CB4B700ED4}"/>
              </a:ext>
            </a:extLst>
          </p:cNvPr>
          <p:cNvSpPr/>
          <p:nvPr/>
        </p:nvSpPr>
        <p:spPr>
          <a:xfrm>
            <a:off x="8193356" y="446119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GNCG…5’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4644335" y="2719119"/>
            <a:ext cx="779181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85E5D5-96D9-DC4C-8A88-117D8A2BAEE6}"/>
              </a:ext>
            </a:extLst>
          </p:cNvPr>
          <p:cNvSpPr/>
          <p:nvPr/>
        </p:nvSpPr>
        <p:spPr bwMode="auto">
          <a:xfrm>
            <a:off x="4642993" y="4733841"/>
            <a:ext cx="771909" cy="763078"/>
          </a:xfrm>
          <a:prstGeom prst="rect">
            <a:avLst/>
          </a:prstGeom>
          <a:noFill/>
          <a:ln w="19050" cap="flat" cmpd="sng" algn="ctr">
            <a:solidFill>
              <a:schemeClr val="accent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912C74-6539-9F44-AA43-8E7CED3176BF}"/>
              </a:ext>
            </a:extLst>
          </p:cNvPr>
          <p:cNvSpPr txBox="1"/>
          <p:nvPr/>
        </p:nvSpPr>
        <p:spPr>
          <a:xfrm>
            <a:off x="99712" y="4420005"/>
            <a:ext cx="309571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Non-taster allele – SNP785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striction fragment length polymorphism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118541" y="2168359"/>
            <a:ext cx="1871339" cy="18745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193666" y="2646953"/>
            <a:ext cx="997463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C</a:t>
            </a:r>
            <a:endParaRPr lang="en-US" sz="1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G</a:t>
            </a: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4947854" y="2651715"/>
            <a:ext cx="3354641" cy="875552"/>
            <a:chOff x="4947854" y="2651715"/>
            <a:chExt cx="335464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6937266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47854" y="2651715"/>
              <a:ext cx="972702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tgcctt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a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8D9EA705-FA4C-47F4-B144-8F21BEAD9544}"/>
              </a:ext>
            </a:extLst>
          </p:cNvPr>
          <p:cNvSpPr/>
          <p:nvPr/>
        </p:nvSpPr>
        <p:spPr>
          <a:xfrm>
            <a:off x="4130835" y="4160197"/>
            <a:ext cx="1871339" cy="1874520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8F90C8D9-04BC-4605-8B8B-777CBFAB4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79258" y="5684493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12D71C-9A27-4C26-9EBB-6DB749AFE018}"/>
              </a:ext>
            </a:extLst>
          </p:cNvPr>
          <p:cNvSpPr/>
          <p:nvPr/>
        </p:nvSpPr>
        <p:spPr>
          <a:xfrm>
            <a:off x="6963563" y="692339"/>
            <a:ext cx="10638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</a:rPr>
              <a:t>Fnu</a:t>
            </a:r>
            <a:r>
              <a:rPr lang="en-US" sz="2400" dirty="0">
                <a:solidFill>
                  <a:schemeClr val="tx2"/>
                </a:solidFill>
              </a:rPr>
              <a:t>4HI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12410" y="3538906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364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96296E-6 L 0.20612 0.00139 " pathEditMode="relative" rAng="0" ptsTypes="AA">
                                      <p:cBhvr>
                                        <p:cTn id="20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xit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4" grpId="1" animBg="1"/>
      <p:bldP spid="25" grpId="0" animBg="1"/>
      <p:bldP spid="25" grpId="1" animBg="1"/>
      <p:bldP spid="4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B582E193-46A6-4206-B04A-12ABFFB10B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find our RFLP?</a:t>
            </a:r>
          </a:p>
        </p:txBody>
      </p:sp>
      <p:sp>
        <p:nvSpPr>
          <p:cNvPr id="4" name="Vertical Text Placeholder 3">
            <a:extLst>
              <a:ext uri="{FF2B5EF4-FFF2-40B4-BE49-F238E27FC236}">
                <a16:creationId xmlns:a16="http://schemas.microsoft.com/office/drawing/2014/main" id="{10B47E64-0430-4B13-B817-E2E2D8DDC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686394"/>
            <a:ext cx="5134058" cy="4252171"/>
          </a:xfrm>
        </p:spPr>
        <p:txBody>
          <a:bodyPr>
            <a:normAutofit fontScale="92500"/>
          </a:bodyPr>
          <a:lstStyle/>
          <a:p>
            <a:r>
              <a:rPr lang="en-US" dirty="0"/>
              <a:t>Imagine that instead of written in DNA, genetic information were written out on paper -500 nucleotides per page.</a:t>
            </a:r>
          </a:p>
          <a:p>
            <a:endParaRPr lang="en-US" dirty="0"/>
          </a:p>
          <a:p>
            <a:r>
              <a:rPr lang="en-US" dirty="0"/>
              <a:t>Using this analogy, the human genome would be a stack of paper over 1/3 of a mile tall - a little taller than the spire on One World Trade Center.</a:t>
            </a:r>
          </a:p>
          <a:p>
            <a:endParaRPr lang="en-US" dirty="0"/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TAS2R38 gene is 2 pages long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103297-BE0E-4B20-B493-B17075C6373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25218" y="168639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Vertical Text Placeholder 3">
            <a:extLst>
              <a:ext uri="{FF2B5EF4-FFF2-40B4-BE49-F238E27FC236}">
                <a16:creationId xmlns:a16="http://schemas.microsoft.com/office/drawing/2014/main" id="{74C2CE3C-3F05-4D62-9410-D71336967209}"/>
              </a:ext>
            </a:extLst>
          </p:cNvPr>
          <p:cNvSpPr txBox="1">
            <a:spLocks/>
          </p:cNvSpPr>
          <p:nvPr/>
        </p:nvSpPr>
        <p:spPr>
          <a:xfrm>
            <a:off x="2442438" y="5938565"/>
            <a:ext cx="3728752" cy="738201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80000"/>
              <a:buFont typeface="Lucida Grande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8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60000"/>
              <a:buFont typeface="Lucida Grande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ts val="600"/>
              </a:spcBef>
              <a:buClr>
                <a:srgbClr val="0092D2"/>
              </a:buClr>
              <a:buSzPct val="70000"/>
              <a:buFont typeface="Arial"/>
              <a:buChar char="►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D2"/>
              </a:buClr>
              <a:buSzPct val="80000"/>
              <a:buFont typeface="Lucida Grande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92D2"/>
              </a:buClr>
              <a:buSzPct val="80000"/>
              <a:buFont typeface="Lucida Grande"/>
              <a:buChar char="►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78B5009-BAA6-4117-89E7-1ADA18DB07B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5010" y="679707"/>
            <a:ext cx="1471750" cy="5533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711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7C804-61B0-4411-A179-11C243B07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TC </a:t>
            </a:r>
            <a:r>
              <a:rPr lang="en-US" b="0" dirty="0"/>
              <a:t>(Phenylthiocarbamid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0089AD-FEF7-4D0A-A522-1E89074971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59" y="1707444"/>
            <a:ext cx="6159269" cy="4063999"/>
          </a:xfrm>
        </p:spPr>
        <p:txBody>
          <a:bodyPr/>
          <a:lstStyle/>
          <a:p>
            <a:r>
              <a:rPr lang="en-US" dirty="0"/>
              <a:t>Chemical not normally found in foods. </a:t>
            </a:r>
          </a:p>
          <a:p>
            <a:r>
              <a:rPr lang="en-US" dirty="0"/>
              <a:t>When tasted, elicits one of two responses.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E60A0DD2-85D7-47CE-B3FD-224AEB67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0670" y="1295611"/>
            <a:ext cx="4428172" cy="447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4A587D-5560-48D0-B34F-91143C591B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"/>
          <a:stretch/>
        </p:blipFill>
        <p:spPr>
          <a:xfrm>
            <a:off x="435456" y="3117050"/>
            <a:ext cx="2674187" cy="285621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3F36FE6-BB33-4082-B029-40EEC4C3DB0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6740" y="3117050"/>
            <a:ext cx="2674187" cy="2861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997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3F64DF-8D7E-4A68-8A9B-A66C46AFB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Helvetica" panose="020B0604020202020204" pitchFamily="34" charset="0"/>
                <a:cs typeface="Helvetica" panose="020B0604020202020204" pitchFamily="34" charset="0"/>
              </a:rPr>
              <a:t>Power of PC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17AE98B-6D4A-4724-B334-AFBF112E02E9}"/>
              </a:ext>
            </a:extLst>
          </p:cNvPr>
          <p:cNvGrpSpPr/>
          <p:nvPr/>
        </p:nvGrpSpPr>
        <p:grpSpPr>
          <a:xfrm>
            <a:off x="7443625" y="1926901"/>
            <a:ext cx="3068309" cy="4212901"/>
            <a:chOff x="4120381" y="1817608"/>
            <a:chExt cx="3068309" cy="4212901"/>
          </a:xfrm>
        </p:grpSpPr>
        <p:pic>
          <p:nvPicPr>
            <p:cNvPr id="5" name="Picture 6" descr="https://upload.wikimedia.org/wikipedia/commons/e/ef/Fuji_Xerox_Document_Centre_505_and_Taiwan_Xerox_Walk-In_120D_at_ROC_National_Central_Library_20101211.jpg">
              <a:extLst>
                <a:ext uri="{FF2B5EF4-FFF2-40B4-BE49-F238E27FC236}">
                  <a16:creationId xmlns:a16="http://schemas.microsoft.com/office/drawing/2014/main" id="{48A1BC6D-7F62-497F-AD09-197295BA52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171" y="1817608"/>
              <a:ext cx="3007519" cy="4010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616788C-E11F-42EF-9657-1DE3D644E945}"/>
                </a:ext>
              </a:extLst>
            </p:cNvPr>
            <p:cNvSpPr/>
            <p:nvPr/>
          </p:nvSpPr>
          <p:spPr>
            <a:xfrm>
              <a:off x="4120381" y="5799677"/>
              <a:ext cx="2236510" cy="2308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elvetica" panose="020B0604020202020204" pitchFamily="34" charset="0"/>
                  <a:ea typeface="+mn-ea"/>
                  <a:cs typeface="Helvetica" panose="020B0604020202020204" pitchFamily="34" charset="0"/>
                </a:rPr>
                <a:t>https://en.wikipedia.org/wiki/Photocopier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F25C577-E09A-4893-98E3-693FAB06D3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36753" y="223455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6B358F-95B9-4A69-965B-8A20096B521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2658" y="223455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FB040E8-DCAA-4B3D-916C-85D19586B1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2871" y="160810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00F4D31-5685-4009-A555-75EB7E22D1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776" y="1608101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43E967-2078-4562-AE0B-3F737301A3D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091" y="113852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32D1878-D75F-420C-A9FE-8D6D509BDA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0996" y="1138524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84526FC-40AE-4D94-A117-9C228AA5936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1489" y="34990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ED50C2A-608A-4397-8145-056BF1D3D3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7394" y="34990"/>
            <a:ext cx="2722112" cy="34328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49B0D5E-0887-4EA4-808C-D0B423247B2D}"/>
              </a:ext>
            </a:extLst>
          </p:cNvPr>
          <p:cNvSpPr txBox="1"/>
          <p:nvPr/>
        </p:nvSpPr>
        <p:spPr>
          <a:xfrm>
            <a:off x="0" y="2730500"/>
            <a:ext cx="12192000" cy="769441"/>
          </a:xfrm>
          <a:prstGeom prst="rect">
            <a:avLst/>
          </a:prstGeom>
          <a:solidFill>
            <a:srgbClr val="D9F2F6">
              <a:alpha val="75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Helvetica" panose="020B0604020202020204" pitchFamily="34" charset="0"/>
              </a:rPr>
              <a:t>We end up with a stack of paper 63 miles high!</a:t>
            </a:r>
          </a:p>
        </p:txBody>
      </p:sp>
    </p:spTree>
    <p:extLst>
      <p:ext uri="{BB962C8B-B14F-4D97-AF65-F5344CB8AC3E}">
        <p14:creationId xmlns:p14="http://schemas.microsoft.com/office/powerpoint/2010/main" val="279496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194C441-1AD0-5F4A-AEA7-22A48F1983DC}"/>
              </a:ext>
            </a:extLst>
          </p:cNvPr>
          <p:cNvSpPr/>
          <p:nvPr/>
        </p:nvSpPr>
        <p:spPr bwMode="auto">
          <a:xfrm>
            <a:off x="6028381" y="3066920"/>
            <a:ext cx="1819658" cy="18288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6" name="AutoShape 22">
            <a:extLst>
              <a:ext uri="{FF2B5EF4-FFF2-40B4-BE49-F238E27FC236}">
                <a16:creationId xmlns:a16="http://schemas.microsoft.com/office/drawing/2014/main" id="{AF444CC5-151F-8E48-8A22-C7546F1345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3301" y="1932955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7" name="AutoShape 23">
            <a:extLst>
              <a:ext uri="{FF2B5EF4-FFF2-40B4-BE49-F238E27FC236}">
                <a16:creationId xmlns:a16="http://schemas.microsoft.com/office/drawing/2014/main" id="{E82E4D85-6F72-EF4D-BA3D-E42854CC2A8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63063" y="1924047"/>
            <a:ext cx="2377440" cy="786098"/>
          </a:xfrm>
          <a:prstGeom prst="chevron">
            <a:avLst>
              <a:gd name="adj" fmla="val 30002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l electrophoresis</a:t>
            </a:r>
          </a:p>
        </p:txBody>
      </p:sp>
      <p:sp>
        <p:nvSpPr>
          <p:cNvPr id="8" name="AutoShape 25">
            <a:extLst>
              <a:ext uri="{FF2B5EF4-FFF2-40B4-BE49-F238E27FC236}">
                <a16:creationId xmlns:a16="http://schemas.microsoft.com/office/drawing/2014/main" id="{DC68542B-72EF-E04D-A795-29D2C221BE9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0971" y="1932955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CR</a:t>
            </a:r>
          </a:p>
        </p:txBody>
      </p:sp>
      <p:sp>
        <p:nvSpPr>
          <p:cNvPr id="9" name="AutoShape 32">
            <a:extLst>
              <a:ext uri="{FF2B5EF4-FFF2-40B4-BE49-F238E27FC236}">
                <a16:creationId xmlns:a16="http://schemas.microsoft.com/office/drawing/2014/main" id="{96D02BF5-2502-0947-9439-E5E73E581CF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2017" y="1924047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triction digest</a:t>
            </a:r>
          </a:p>
        </p:txBody>
      </p:sp>
      <p:pic>
        <p:nvPicPr>
          <p:cNvPr id="11" name="Picture 2" descr="http://2.bp.blogspot.com/-mNnncu9m5C0/UxNJXZ-JyzI/AAAAAAAABik/OaLTS8YDLNQ/s1600/restrictionEnzymes.gif">
            <a:extLst>
              <a:ext uri="{FF2B5EF4-FFF2-40B4-BE49-F238E27FC236}">
                <a16:creationId xmlns:a16="http://schemas.microsoft.com/office/drawing/2014/main" id="{E94521D9-30D7-F64A-8FD3-A9E45783C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441"/>
          <a:stretch/>
        </p:blipFill>
        <p:spPr bwMode="auto">
          <a:xfrm>
            <a:off x="6245924" y="2842401"/>
            <a:ext cx="1102618" cy="10394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upload.wikimedia.org/wikipedia/commons/thumb/7/78/EcoRI_restriction_enzyme_recognition_site.svg/800px-EcoRI_restriction_enzyme_recognition_site.svg.png">
            <a:extLst>
              <a:ext uri="{FF2B5EF4-FFF2-40B4-BE49-F238E27FC236}">
                <a16:creationId xmlns:a16="http://schemas.microsoft.com/office/drawing/2014/main" id="{036BD553-5DCC-0A4D-9F38-43826D751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94" y="3856062"/>
            <a:ext cx="1523078" cy="6092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55A624-2E3F-994F-81E1-8411547BD187}"/>
              </a:ext>
            </a:extLst>
          </p:cNvPr>
          <p:cNvCxnSpPr/>
          <p:nvPr/>
        </p:nvCxnSpPr>
        <p:spPr bwMode="auto">
          <a:xfrm>
            <a:off x="1707502" y="4907167"/>
            <a:ext cx="3944515" cy="3079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0B4FCF-3611-0F48-B1F8-F8949442A6DD}"/>
              </a:ext>
            </a:extLst>
          </p:cNvPr>
          <p:cNvCxnSpPr/>
          <p:nvPr/>
        </p:nvCxnSpPr>
        <p:spPr bwMode="auto">
          <a:xfrm flipV="1">
            <a:off x="5982610" y="4910246"/>
            <a:ext cx="4023534" cy="3273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4E57B1F-151E-024A-A405-E0AEA35E94F4}"/>
              </a:ext>
            </a:extLst>
          </p:cNvPr>
          <p:cNvSpPr txBox="1">
            <a:spLocks/>
          </p:cNvSpPr>
          <p:nvPr/>
        </p:nvSpPr>
        <p:spPr bwMode="gray">
          <a:xfrm>
            <a:off x="2464518" y="4680164"/>
            <a:ext cx="240181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First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F66D3DA-0C11-B340-990C-439CE2B60767}"/>
              </a:ext>
            </a:extLst>
          </p:cNvPr>
          <p:cNvSpPr txBox="1">
            <a:spLocks/>
          </p:cNvSpPr>
          <p:nvPr/>
        </p:nvSpPr>
        <p:spPr bwMode="gray">
          <a:xfrm>
            <a:off x="6679291" y="4732885"/>
            <a:ext cx="263017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algn="ctr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Second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pic>
        <p:nvPicPr>
          <p:cNvPr id="21" name="Picture 2" descr="http://supratechdna.com/images/stap-5.jpg">
            <a:extLst>
              <a:ext uri="{FF2B5EF4-FFF2-40B4-BE49-F238E27FC236}">
                <a16:creationId xmlns:a16="http://schemas.microsoft.com/office/drawing/2014/main" id="{6626F7EF-E24B-4640-9BD1-E6C9224B4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48" y="3107802"/>
            <a:ext cx="1428750" cy="13525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4B0D1CE4-B225-4452-990D-D421DD9B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From phenotype to genotype in two class period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5812CBB-F29D-4ACF-A21D-E2EFC0666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5464" y="2930955"/>
            <a:ext cx="2326608" cy="155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A9B653CA-D2E2-401B-8EEE-780736095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307" y="2839322"/>
            <a:ext cx="2563300" cy="170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360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Picture 70">
            <a:extLst>
              <a:ext uri="{FF2B5EF4-FFF2-40B4-BE49-F238E27FC236}">
                <a16:creationId xmlns:a16="http://schemas.microsoft.com/office/drawing/2014/main" id="{5582BFD4-7ED0-4FE7-8176-4BA4267B3C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3507" y="3427435"/>
            <a:ext cx="1261981" cy="278611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D2556E-634B-44E3-B90C-16FE6DCC81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3042" y="-381000"/>
            <a:ext cx="2135235" cy="66929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6BBDDF-6802-4D6B-907F-EEBDF51EF2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1160" y="1707445"/>
            <a:ext cx="7141882" cy="4063999"/>
          </a:xfrm>
        </p:spPr>
        <p:txBody>
          <a:bodyPr/>
          <a:lstStyle/>
          <a:p>
            <a:r>
              <a:rPr lang="en-US" dirty="0"/>
              <a:t>In a new tube ad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4 µl PCR reac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/>
              <a:t>Now contains billions of short fragments (250 bp) that come from the PAV allele, the AVI allele or a mixture of both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1 µl Fnu4HI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0C0EDC-8781-4F9A-AC26-50136BA0A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triction Digest</a:t>
            </a:r>
          </a:p>
        </p:txBody>
      </p:sp>
      <p:pic>
        <p:nvPicPr>
          <p:cNvPr id="57" name="Picture 2">
            <a:extLst>
              <a:ext uri="{FF2B5EF4-FFF2-40B4-BE49-F238E27FC236}">
                <a16:creationId xmlns:a16="http://schemas.microsoft.com/office/drawing/2014/main" id="{02B62A7F-478D-4D16-B0D0-B40647291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8421932" y="4312662"/>
            <a:ext cx="735608" cy="44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1373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25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A1DAD6-6858-9148-99A6-32E97E9909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3493" y="1896289"/>
            <a:ext cx="6188540" cy="39523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B3F91C-CEE2-264A-A507-FE6A9BBACDA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96289"/>
            <a:ext cx="6188540" cy="395230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237D9F-1CFB-41CD-A519-75D58983E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Helvetica" pitchFamily="34" charset="0"/>
              </a:rPr>
              <a:t>Incubate 15 minutes at 37°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3843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28B08685-0D7B-4365-A784-5C68A5AEC1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64450" y="1852561"/>
            <a:ext cx="273393" cy="245706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7AF8283-BCDE-4610-90AD-72B237594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966041" y="3850190"/>
            <a:ext cx="273393" cy="245706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D6234F4-8A7B-42C2-A38C-B7DA9F5056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8975" y="3850189"/>
            <a:ext cx="273393" cy="2457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FLP  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31F9F36-DAD1-924A-9716-8CB112426E30}"/>
              </a:ext>
            </a:extLst>
          </p:cNvPr>
          <p:cNvSpPr txBox="1"/>
          <p:nvPr/>
        </p:nvSpPr>
        <p:spPr>
          <a:xfrm>
            <a:off x="99712" y="2177885"/>
            <a:ext cx="250151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ster allele - snp78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266E78A-4AE0-4D46-97D9-30D0980D7B70}"/>
              </a:ext>
            </a:extLst>
          </p:cNvPr>
          <p:cNvSpPr/>
          <p:nvPr/>
        </p:nvSpPr>
        <p:spPr bwMode="auto">
          <a:xfrm>
            <a:off x="4193666" y="4659681"/>
            <a:ext cx="1701077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T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cctt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gga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3E7170C-BC79-2B42-9FCC-29CB4B700ED4}"/>
              </a:ext>
            </a:extLst>
          </p:cNvPr>
          <p:cNvSpPr/>
          <p:nvPr/>
        </p:nvSpPr>
        <p:spPr>
          <a:xfrm>
            <a:off x="8193356" y="446119"/>
            <a:ext cx="2547492" cy="954107"/>
          </a:xfrm>
          <a:prstGeom prst="rect">
            <a:avLst/>
          </a:prstGeom>
          <a:noFill/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5’…GCNGC…3’</a:t>
            </a:r>
          </a:p>
          <a:p>
            <a:pPr algn="ctr"/>
            <a:r>
              <a:rPr lang="en-US" sz="2800" cap="none" spc="0" dirty="0">
                <a:ln w="12700">
                  <a:noFill/>
                  <a:prstDash val="solid"/>
                </a:ln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3’…CGNCG…5’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629357-063B-8049-A4F8-498444668B2F}"/>
              </a:ext>
            </a:extLst>
          </p:cNvPr>
          <p:cNvSpPr/>
          <p:nvPr/>
        </p:nvSpPr>
        <p:spPr bwMode="auto">
          <a:xfrm>
            <a:off x="4644335" y="2719119"/>
            <a:ext cx="779181" cy="778446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F85E5D5-96D9-DC4C-8A88-117D8A2BAEE6}"/>
              </a:ext>
            </a:extLst>
          </p:cNvPr>
          <p:cNvSpPr/>
          <p:nvPr/>
        </p:nvSpPr>
        <p:spPr bwMode="auto">
          <a:xfrm>
            <a:off x="4642993" y="4733841"/>
            <a:ext cx="771909" cy="763078"/>
          </a:xfrm>
          <a:prstGeom prst="rect">
            <a:avLst/>
          </a:prstGeom>
          <a:noFill/>
          <a:ln w="19050" cap="flat" cmpd="sng" algn="ctr">
            <a:solidFill>
              <a:schemeClr val="accent2"/>
            </a:solidFill>
            <a:prstDash val="dot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912C74-6539-9F44-AA43-8E7CED3176BF}"/>
              </a:ext>
            </a:extLst>
          </p:cNvPr>
          <p:cNvSpPr txBox="1"/>
          <p:nvPr/>
        </p:nvSpPr>
        <p:spPr>
          <a:xfrm>
            <a:off x="99712" y="4420005"/>
            <a:ext cx="3031599" cy="461665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Non-taster allele – snp785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EC549A5-1F8C-4FC3-AF98-954A026B5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12410" y="3538906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86E6C2E-3B07-4F6D-9ED2-DBB51E17945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0525" y="1643697"/>
            <a:ext cx="10515600" cy="598488"/>
          </a:xfrm>
        </p:spPr>
        <p:txBody>
          <a:bodyPr/>
          <a:lstStyle/>
          <a:p>
            <a:r>
              <a:rPr lang="en-US" dirty="0"/>
              <a:t>Restriction fragment length polymorphism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91619E78-7119-4AD7-8621-75C756A2FD1B}"/>
              </a:ext>
            </a:extLst>
          </p:cNvPr>
          <p:cNvSpPr/>
          <p:nvPr/>
        </p:nvSpPr>
        <p:spPr>
          <a:xfrm>
            <a:off x="4118541" y="2168359"/>
            <a:ext cx="1871339" cy="187452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DF6FEC-4A7E-2C45-9EF5-A17B5FE4A465}"/>
              </a:ext>
            </a:extLst>
          </p:cNvPr>
          <p:cNvSpPr/>
          <p:nvPr/>
        </p:nvSpPr>
        <p:spPr bwMode="auto">
          <a:xfrm>
            <a:off x="4193666" y="2646953"/>
            <a:ext cx="997463" cy="87555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tgtg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C</a:t>
            </a:r>
            <a:endParaRPr lang="en-US" sz="1400" b="1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r>
              <a:rPr lang="en-US" sz="2000" b="0" dirty="0" err="1">
                <a:latin typeface="Courier"/>
                <a:ea typeface="Times New Roman" panose="02020603050405020304" pitchFamily="18" charset="0"/>
                <a:cs typeface="Courier"/>
              </a:rPr>
              <a:t>acac</a:t>
            </a:r>
            <a:r>
              <a:rPr lang="en-US" sz="2000" b="1" dirty="0" err="1">
                <a:latin typeface="Courier"/>
                <a:ea typeface="Times New Roman" panose="02020603050405020304" pitchFamily="18" charset="0"/>
                <a:cs typeface="Courier"/>
              </a:rPr>
              <a:t>G</a:t>
            </a:r>
            <a:r>
              <a:rPr lang="en-US" sz="2000" dirty="0" err="1">
                <a:latin typeface="Courier"/>
                <a:ea typeface="Times New Roman" panose="02020603050405020304" pitchFamily="18" charset="0"/>
                <a:cs typeface="Courier"/>
              </a:rPr>
              <a:t>a</a:t>
            </a:r>
            <a:endParaRPr lang="en-US" sz="14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E28662-EC89-46DF-B82E-1E25FC0C8C8C}"/>
              </a:ext>
            </a:extLst>
          </p:cNvPr>
          <p:cNvGrpSpPr/>
          <p:nvPr/>
        </p:nvGrpSpPr>
        <p:grpSpPr>
          <a:xfrm>
            <a:off x="4947854" y="2651715"/>
            <a:ext cx="3354641" cy="875552"/>
            <a:chOff x="4947854" y="2651715"/>
            <a:chExt cx="3354641" cy="875552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6E069-5E41-4EE4-9914-6E8B34FCD0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5400000">
              <a:off x="6937266" y="1852561"/>
              <a:ext cx="273393" cy="2457064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2BBACF-53F9-4DC1-A807-EA15B0130531}"/>
                </a:ext>
              </a:extLst>
            </p:cNvPr>
            <p:cNvSpPr/>
            <p:nvPr/>
          </p:nvSpPr>
          <p:spPr bwMode="auto">
            <a:xfrm>
              <a:off x="4947854" y="2651715"/>
              <a:ext cx="972702" cy="87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stealth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fontAlgn="base">
                <a:spcBef>
                  <a:spcPts val="0"/>
                </a:spcBef>
              </a:pP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tgcctt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  <a:p>
              <a:pPr marL="0" marR="0" fontAlgn="base">
                <a:spcBef>
                  <a:spcPts val="0"/>
                </a:spcBef>
              </a:pPr>
              <a:r>
                <a:rPr lang="en-US" sz="2000" dirty="0">
                  <a:latin typeface="Courier"/>
                  <a:ea typeface="Times New Roman" panose="02020603050405020304" pitchFamily="18" charset="0"/>
                  <a:cs typeface="Courier"/>
                </a:rPr>
                <a:t> </a:t>
              </a:r>
              <a:r>
                <a:rPr lang="en-US" sz="2000" dirty="0" err="1">
                  <a:latin typeface="Courier"/>
                  <a:ea typeface="Times New Roman" panose="02020603050405020304" pitchFamily="18" charset="0"/>
                  <a:cs typeface="Courier"/>
                </a:rPr>
                <a:t>cggaa</a:t>
              </a:r>
              <a:endParaRPr lang="en-US" sz="2000" dirty="0">
                <a:latin typeface="Courier"/>
                <a:ea typeface="Times New Roman" panose="02020603050405020304" pitchFamily="18" charset="0"/>
                <a:cs typeface="Courier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8D9EA705-FA4C-47F4-B144-8F21BEAD9544}"/>
              </a:ext>
            </a:extLst>
          </p:cNvPr>
          <p:cNvSpPr/>
          <p:nvPr/>
        </p:nvSpPr>
        <p:spPr>
          <a:xfrm>
            <a:off x="4130835" y="4160197"/>
            <a:ext cx="1871339" cy="1874520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8F90C8D9-04BC-4605-8B8B-777CBFAB4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919883">
            <a:off x="4779258" y="5684493"/>
            <a:ext cx="1231274" cy="738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912D71C-9A27-4C26-9EBB-6DB749AFE018}"/>
              </a:ext>
            </a:extLst>
          </p:cNvPr>
          <p:cNvSpPr/>
          <p:nvPr/>
        </p:nvSpPr>
        <p:spPr>
          <a:xfrm>
            <a:off x="6963563" y="692339"/>
            <a:ext cx="106388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chemeClr val="tx2"/>
                </a:solidFill>
              </a:rPr>
              <a:t>Fnu</a:t>
            </a:r>
            <a:r>
              <a:rPr lang="en-US" sz="2400" dirty="0">
                <a:solidFill>
                  <a:schemeClr val="tx2"/>
                </a:solidFill>
              </a:rPr>
              <a:t>4HI</a:t>
            </a:r>
          </a:p>
        </p:txBody>
      </p:sp>
    </p:spTree>
    <p:extLst>
      <p:ext uri="{BB962C8B-B14F-4D97-AF65-F5344CB8AC3E}">
        <p14:creationId xmlns:p14="http://schemas.microsoft.com/office/powerpoint/2010/main" val="148905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96296E-6 L 0.20612 0.00139 " pathEditMode="relative" rAng="0" ptsTypes="AA">
                                      <p:cBhvr>
                                        <p:cTn id="26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299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4" grpId="1" animBg="1"/>
      <p:bldP spid="25" grpId="0" animBg="1"/>
      <p:bldP spid="25" grpId="1" animBg="1"/>
      <p:bldP spid="4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275BFCDB-CC53-4EEB-8FD7-C904ACFECE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22BAB9-74B9-4B72-9A4D-151E0914FB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arose gel electrophoresi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6A42F5-857C-4A93-947A-06FCB972A56F}"/>
              </a:ext>
            </a:extLst>
          </p:cNvPr>
          <p:cNvSpPr/>
          <p:nvPr/>
        </p:nvSpPr>
        <p:spPr>
          <a:xfrm>
            <a:off x="5369719" y="3633788"/>
            <a:ext cx="564356" cy="785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15585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9B99C-5FB4-4183-ADF5-02D7120EF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arger molecules migrate more slowly</a:t>
            </a:r>
            <a:br>
              <a:rPr lang="en-US" dirty="0"/>
            </a:br>
            <a:endParaRPr lang="en-US" dirty="0"/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7E14961C-B71C-40A2-84F9-654A1066D387}"/>
              </a:ext>
            </a:extLst>
          </p:cNvPr>
          <p:cNvSpPr txBox="1"/>
          <p:nvPr/>
        </p:nvSpPr>
        <p:spPr>
          <a:xfrm>
            <a:off x="10678785" y="2946611"/>
            <a:ext cx="870857" cy="1582861"/>
          </a:xfrm>
          <a:prstGeom prst="rect">
            <a:avLst/>
          </a:prstGeom>
          <a:noFill/>
        </p:spPr>
        <p:txBody>
          <a:bodyPr wrap="square" tIns="87086" bIns="87086" rtlCol="0">
            <a:spAutoFit/>
          </a:bodyPr>
          <a:lstStyle/>
          <a:p>
            <a:pPr marL="0" marR="0" lvl="0" indent="0" algn="ctr" defTabSz="8708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43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charset="0"/>
                <a:ea typeface="+mn-ea"/>
                <a:cs typeface="Arial"/>
              </a:rPr>
              <a:t>+</a:t>
            </a: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56DAFBB7-E1F7-42E3-915C-44823C708AB7}"/>
              </a:ext>
            </a:extLst>
          </p:cNvPr>
          <p:cNvGrpSpPr/>
          <p:nvPr/>
        </p:nvGrpSpPr>
        <p:grpSpPr>
          <a:xfrm>
            <a:off x="1651335" y="1957312"/>
            <a:ext cx="8680364" cy="3793557"/>
            <a:chOff x="1651335" y="1957312"/>
            <a:chExt cx="8680364" cy="3793557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3613901-027F-4E92-AD0C-0667106B2AE5}"/>
                </a:ext>
              </a:extLst>
            </p:cNvPr>
            <p:cNvSpPr/>
            <p:nvPr/>
          </p:nvSpPr>
          <p:spPr>
            <a:xfrm>
              <a:off x="1651335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775BA93-CD5F-4A5D-9C47-1404C9524DB9}"/>
                </a:ext>
              </a:extLst>
            </p:cNvPr>
            <p:cNvSpPr/>
            <p:nvPr/>
          </p:nvSpPr>
          <p:spPr>
            <a:xfrm>
              <a:off x="2037303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A5D8B9A-1711-42CC-8B3D-13806555109A}"/>
                </a:ext>
              </a:extLst>
            </p:cNvPr>
            <p:cNvSpPr/>
            <p:nvPr/>
          </p:nvSpPr>
          <p:spPr>
            <a:xfrm>
              <a:off x="2809238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8673220-E34E-41DE-AB30-7C718E7A5CB6}"/>
                </a:ext>
              </a:extLst>
            </p:cNvPr>
            <p:cNvGrpSpPr/>
            <p:nvPr/>
          </p:nvGrpSpPr>
          <p:grpSpPr>
            <a:xfrm>
              <a:off x="2423270" y="1961434"/>
              <a:ext cx="896343" cy="132702"/>
              <a:chOff x="4084956" y="4032069"/>
              <a:chExt cx="941160" cy="139337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940B7D32-C1BB-4BA8-97FE-D9FD13CAEA5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A14D8404-F1D4-4692-8D7B-38B4D4575CCF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B99B50DA-38FB-43F2-9183-57F483F326B9}"/>
                </a:ext>
              </a:extLst>
            </p:cNvPr>
            <p:cNvSpPr/>
            <p:nvPr/>
          </p:nvSpPr>
          <p:spPr>
            <a:xfrm>
              <a:off x="3967141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AADB06E-3677-4155-B094-C585E910BB40}"/>
                </a:ext>
              </a:extLst>
            </p:cNvPr>
            <p:cNvSpPr/>
            <p:nvPr/>
          </p:nvSpPr>
          <p:spPr>
            <a:xfrm>
              <a:off x="3581173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AFF90A3-5C3A-417C-937D-0BBB96AAE164}"/>
                </a:ext>
              </a:extLst>
            </p:cNvPr>
            <p:cNvSpPr/>
            <p:nvPr/>
          </p:nvSpPr>
          <p:spPr>
            <a:xfrm>
              <a:off x="4353108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5B908C6-5808-4F42-A1BF-CFAB6A83C928}"/>
                </a:ext>
              </a:extLst>
            </p:cNvPr>
            <p:cNvSpPr/>
            <p:nvPr/>
          </p:nvSpPr>
          <p:spPr>
            <a:xfrm>
              <a:off x="1651335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B93C2D8A-3DB9-45D3-ABC9-2BC4341BE4F8}"/>
                </a:ext>
              </a:extLst>
            </p:cNvPr>
            <p:cNvSpPr/>
            <p:nvPr/>
          </p:nvSpPr>
          <p:spPr>
            <a:xfrm>
              <a:off x="2037303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D8E318F-86F8-4BE2-8ABB-790D41D6F97F}"/>
                </a:ext>
              </a:extLst>
            </p:cNvPr>
            <p:cNvSpPr/>
            <p:nvPr/>
          </p:nvSpPr>
          <p:spPr>
            <a:xfrm>
              <a:off x="2809238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547AA53-3B50-4B93-B499-49BC1F9E0BC9}"/>
                </a:ext>
              </a:extLst>
            </p:cNvPr>
            <p:cNvGrpSpPr/>
            <p:nvPr/>
          </p:nvGrpSpPr>
          <p:grpSpPr>
            <a:xfrm>
              <a:off x="2423270" y="2779331"/>
              <a:ext cx="896343" cy="132702"/>
              <a:chOff x="4084956" y="4032069"/>
              <a:chExt cx="941160" cy="139337"/>
            </a:xfrm>
          </p:grpSpPr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id="{7CE25F9F-FB8A-40E7-A623-4E236DD8B60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:a16="http://schemas.microsoft.com/office/drawing/2014/main" id="{10E937C3-375F-4885-AA0B-9798A652D234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5DE08FCE-E980-450E-AE7B-586C90799924}"/>
                </a:ext>
              </a:extLst>
            </p:cNvPr>
            <p:cNvSpPr/>
            <p:nvPr/>
          </p:nvSpPr>
          <p:spPr>
            <a:xfrm>
              <a:off x="3967141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DDB7F785-CA27-4AC4-9472-CA891A18C227}"/>
                </a:ext>
              </a:extLst>
            </p:cNvPr>
            <p:cNvSpPr/>
            <p:nvPr/>
          </p:nvSpPr>
          <p:spPr>
            <a:xfrm>
              <a:off x="3581173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310BE39-8BB0-4F67-83E3-4C35D2DA7055}"/>
                </a:ext>
              </a:extLst>
            </p:cNvPr>
            <p:cNvSpPr/>
            <p:nvPr/>
          </p:nvSpPr>
          <p:spPr>
            <a:xfrm>
              <a:off x="4353108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3FBD79FE-ED67-4FF2-9B31-C8AC09BB4B2D}"/>
                </a:ext>
              </a:extLst>
            </p:cNvPr>
            <p:cNvSpPr/>
            <p:nvPr/>
          </p:nvSpPr>
          <p:spPr>
            <a:xfrm>
              <a:off x="4739076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8A7D793-4BBB-4829-BBBD-D1975EAD90FF}"/>
                </a:ext>
              </a:extLst>
            </p:cNvPr>
            <p:cNvSpPr/>
            <p:nvPr/>
          </p:nvSpPr>
          <p:spPr>
            <a:xfrm>
              <a:off x="5125044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9716255-8FCC-4C2A-B184-98D6D6C7FC26}"/>
                </a:ext>
              </a:extLst>
            </p:cNvPr>
            <p:cNvSpPr/>
            <p:nvPr/>
          </p:nvSpPr>
          <p:spPr>
            <a:xfrm>
              <a:off x="5896979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C230BED6-C9C2-42E1-B538-96D9DBB9D987}"/>
                </a:ext>
              </a:extLst>
            </p:cNvPr>
            <p:cNvGrpSpPr/>
            <p:nvPr/>
          </p:nvGrpSpPr>
          <p:grpSpPr>
            <a:xfrm>
              <a:off x="5511011" y="1961434"/>
              <a:ext cx="896343" cy="132702"/>
              <a:chOff x="4084956" y="4032069"/>
              <a:chExt cx="941160" cy="139337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ABBE0B5B-D5D1-46C5-A9FF-590CAE1FA870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:a16="http://schemas.microsoft.com/office/drawing/2014/main" id="{9C065252-BE69-4E99-9828-A31B3A72867F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3E17946F-D298-4871-BDAA-F70A79390C14}"/>
                </a:ext>
              </a:extLst>
            </p:cNvPr>
            <p:cNvSpPr/>
            <p:nvPr/>
          </p:nvSpPr>
          <p:spPr>
            <a:xfrm>
              <a:off x="7054882" y="1961434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605377A-F624-41AB-A4B3-7F53B2E908EE}"/>
                </a:ext>
              </a:extLst>
            </p:cNvPr>
            <p:cNvSpPr/>
            <p:nvPr/>
          </p:nvSpPr>
          <p:spPr>
            <a:xfrm>
              <a:off x="6668914" y="234658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3A799FA-38EB-4CC0-8C3B-EC2A1B16C808}"/>
                </a:ext>
              </a:extLst>
            </p:cNvPr>
            <p:cNvSpPr/>
            <p:nvPr/>
          </p:nvSpPr>
          <p:spPr>
            <a:xfrm>
              <a:off x="7440849" y="234131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3C5C1DA8-1971-4D9D-BFA3-3DDC245DD200}"/>
                </a:ext>
              </a:extLst>
            </p:cNvPr>
            <p:cNvSpPr/>
            <p:nvPr/>
          </p:nvSpPr>
          <p:spPr>
            <a:xfrm>
              <a:off x="4739076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76FB9CC-A688-4D92-8297-3D83EEC35D93}"/>
                </a:ext>
              </a:extLst>
            </p:cNvPr>
            <p:cNvSpPr/>
            <p:nvPr/>
          </p:nvSpPr>
          <p:spPr>
            <a:xfrm>
              <a:off x="5125044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D119A83-1447-440A-AAD1-662248394A43}"/>
                </a:ext>
              </a:extLst>
            </p:cNvPr>
            <p:cNvSpPr/>
            <p:nvPr/>
          </p:nvSpPr>
          <p:spPr>
            <a:xfrm>
              <a:off x="5896979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B9AF0FB5-DDDA-4563-AFB3-1DC227D324AE}"/>
                </a:ext>
              </a:extLst>
            </p:cNvPr>
            <p:cNvGrpSpPr/>
            <p:nvPr/>
          </p:nvGrpSpPr>
          <p:grpSpPr>
            <a:xfrm>
              <a:off x="5511011" y="2779331"/>
              <a:ext cx="896343" cy="132702"/>
              <a:chOff x="4084956" y="4032069"/>
              <a:chExt cx="941160" cy="139337"/>
            </a:xfrm>
          </p:grpSpPr>
          <p:sp>
            <p:nvSpPr>
              <p:cNvPr id="116" name="Oval 115">
                <a:extLst>
                  <a:ext uri="{FF2B5EF4-FFF2-40B4-BE49-F238E27FC236}">
                    <a16:creationId xmlns:a16="http://schemas.microsoft.com/office/drawing/2014/main" id="{E3057A69-780B-46CC-AD69-BCCCD85EA0EB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D7CD35E1-7756-44A4-85E1-70F712D7EF6C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7643DFD-21EF-4EF9-8615-D947A67ED42D}"/>
                </a:ext>
              </a:extLst>
            </p:cNvPr>
            <p:cNvSpPr/>
            <p:nvPr/>
          </p:nvSpPr>
          <p:spPr>
            <a:xfrm>
              <a:off x="7054882" y="277933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42976BF0-37BF-4233-B444-C9AB8284A19B}"/>
                </a:ext>
              </a:extLst>
            </p:cNvPr>
            <p:cNvSpPr/>
            <p:nvPr/>
          </p:nvSpPr>
          <p:spPr>
            <a:xfrm>
              <a:off x="6668914" y="316447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0ED9139-E040-4467-847D-BD18B0448B7D}"/>
                </a:ext>
              </a:extLst>
            </p:cNvPr>
            <p:cNvSpPr/>
            <p:nvPr/>
          </p:nvSpPr>
          <p:spPr>
            <a:xfrm>
              <a:off x="7440849" y="3159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868A27A1-E08E-4332-A62E-3BF1AAE56FA8}"/>
                </a:ext>
              </a:extLst>
            </p:cNvPr>
            <p:cNvSpPr/>
            <p:nvPr/>
          </p:nvSpPr>
          <p:spPr>
            <a:xfrm>
              <a:off x="1651335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E88AE4A-D93E-42BB-8944-AF2905139BA3}"/>
                </a:ext>
              </a:extLst>
            </p:cNvPr>
            <p:cNvSpPr/>
            <p:nvPr/>
          </p:nvSpPr>
          <p:spPr>
            <a:xfrm>
              <a:off x="2037303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81A33B4-FF3F-4AA5-B225-079796D8EF61}"/>
                </a:ext>
              </a:extLst>
            </p:cNvPr>
            <p:cNvSpPr/>
            <p:nvPr/>
          </p:nvSpPr>
          <p:spPr>
            <a:xfrm>
              <a:off x="2809238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39647DED-874A-4466-9522-836F05AB0E4D}"/>
                </a:ext>
              </a:extLst>
            </p:cNvPr>
            <p:cNvGrpSpPr/>
            <p:nvPr/>
          </p:nvGrpSpPr>
          <p:grpSpPr>
            <a:xfrm>
              <a:off x="2423270" y="3597227"/>
              <a:ext cx="896343" cy="132702"/>
              <a:chOff x="4084956" y="4032069"/>
              <a:chExt cx="941160" cy="139337"/>
            </a:xfrm>
          </p:grpSpPr>
          <p:sp>
            <p:nvSpPr>
              <p:cNvPr id="114" name="Oval 113">
                <a:extLst>
                  <a:ext uri="{FF2B5EF4-FFF2-40B4-BE49-F238E27FC236}">
                    <a16:creationId xmlns:a16="http://schemas.microsoft.com/office/drawing/2014/main" id="{19F39AFE-5595-4AE0-B14B-82596928E19A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:a16="http://schemas.microsoft.com/office/drawing/2014/main" id="{1CCA9C86-4A6A-496E-85DC-58622EF7E65B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811CC93-A039-427A-BA0D-89FAC7B3D3AE}"/>
                </a:ext>
              </a:extLst>
            </p:cNvPr>
            <p:cNvSpPr/>
            <p:nvPr/>
          </p:nvSpPr>
          <p:spPr>
            <a:xfrm>
              <a:off x="3967141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9897A604-6047-4015-96D7-B7D0D3A2EEFB}"/>
                </a:ext>
              </a:extLst>
            </p:cNvPr>
            <p:cNvSpPr/>
            <p:nvPr/>
          </p:nvSpPr>
          <p:spPr>
            <a:xfrm>
              <a:off x="3581173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0D440273-7308-4C8C-AFB2-0ABCDBA4D3D0}"/>
                </a:ext>
              </a:extLst>
            </p:cNvPr>
            <p:cNvSpPr/>
            <p:nvPr/>
          </p:nvSpPr>
          <p:spPr>
            <a:xfrm>
              <a:off x="4353108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E58F0C4-4754-4454-B8EE-DF690E29FF04}"/>
                </a:ext>
              </a:extLst>
            </p:cNvPr>
            <p:cNvSpPr/>
            <p:nvPr/>
          </p:nvSpPr>
          <p:spPr>
            <a:xfrm>
              <a:off x="1651335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D5369D9-8682-478C-8E31-1511BDC008D2}"/>
                </a:ext>
              </a:extLst>
            </p:cNvPr>
            <p:cNvSpPr/>
            <p:nvPr/>
          </p:nvSpPr>
          <p:spPr>
            <a:xfrm>
              <a:off x="2037303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98334CAE-5E10-4A1D-A81A-84DE12EEBDD5}"/>
                </a:ext>
              </a:extLst>
            </p:cNvPr>
            <p:cNvSpPr/>
            <p:nvPr/>
          </p:nvSpPr>
          <p:spPr>
            <a:xfrm>
              <a:off x="2809238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F86DFA37-1B8F-47D5-9AFF-7D07D1445183}"/>
                </a:ext>
              </a:extLst>
            </p:cNvPr>
            <p:cNvGrpSpPr/>
            <p:nvPr/>
          </p:nvGrpSpPr>
          <p:grpSpPr>
            <a:xfrm>
              <a:off x="2423270" y="4415123"/>
              <a:ext cx="896343" cy="132702"/>
              <a:chOff x="4084956" y="4032069"/>
              <a:chExt cx="941160" cy="139337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542F23E5-68E0-44C4-BBB7-402D93F0C5DD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CF9FD6CB-4133-4A94-BB2C-5853922EAAE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712C9EA1-25E0-499E-B0A7-41E99C53669D}"/>
                </a:ext>
              </a:extLst>
            </p:cNvPr>
            <p:cNvSpPr/>
            <p:nvPr/>
          </p:nvSpPr>
          <p:spPr>
            <a:xfrm>
              <a:off x="3967141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D85F7851-5508-446C-8A72-1830CDC57425}"/>
                </a:ext>
              </a:extLst>
            </p:cNvPr>
            <p:cNvSpPr/>
            <p:nvPr/>
          </p:nvSpPr>
          <p:spPr>
            <a:xfrm>
              <a:off x="3581173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79476015-EE2B-47D1-B84C-2CEA6630779A}"/>
                </a:ext>
              </a:extLst>
            </p:cNvPr>
            <p:cNvSpPr/>
            <p:nvPr/>
          </p:nvSpPr>
          <p:spPr>
            <a:xfrm>
              <a:off x="4353108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4C55D56-5319-4DEF-BC55-81647B04A8E3}"/>
                </a:ext>
              </a:extLst>
            </p:cNvPr>
            <p:cNvSpPr/>
            <p:nvPr/>
          </p:nvSpPr>
          <p:spPr>
            <a:xfrm>
              <a:off x="4739076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8840C898-318E-46CB-ABD6-C5EE29A7E96C}"/>
                </a:ext>
              </a:extLst>
            </p:cNvPr>
            <p:cNvSpPr/>
            <p:nvPr/>
          </p:nvSpPr>
          <p:spPr>
            <a:xfrm>
              <a:off x="5125044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3C9BD0F-BDFE-4CE3-BAAC-C6C83BAD3D05}"/>
                </a:ext>
              </a:extLst>
            </p:cNvPr>
            <p:cNvSpPr/>
            <p:nvPr/>
          </p:nvSpPr>
          <p:spPr>
            <a:xfrm>
              <a:off x="5896979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CD1EA87-DEE8-4A26-9871-BDFDD506E00D}"/>
                </a:ext>
              </a:extLst>
            </p:cNvPr>
            <p:cNvGrpSpPr/>
            <p:nvPr/>
          </p:nvGrpSpPr>
          <p:grpSpPr>
            <a:xfrm>
              <a:off x="5511011" y="3597227"/>
              <a:ext cx="896343" cy="132702"/>
              <a:chOff x="4084956" y="4032069"/>
              <a:chExt cx="941160" cy="139337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2FC99F05-A54A-4357-B6F2-758C016108D9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A629B316-97D5-40E8-9918-4EC421265EF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61476BFD-C642-486D-A253-B0FA4C19E2B1}"/>
                </a:ext>
              </a:extLst>
            </p:cNvPr>
            <p:cNvSpPr/>
            <p:nvPr/>
          </p:nvSpPr>
          <p:spPr>
            <a:xfrm>
              <a:off x="7054882" y="359722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4140EB0C-109A-4F9D-A727-3DCE13F02B35}"/>
                </a:ext>
              </a:extLst>
            </p:cNvPr>
            <p:cNvSpPr/>
            <p:nvPr/>
          </p:nvSpPr>
          <p:spPr>
            <a:xfrm>
              <a:off x="6668914" y="398237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A353737-7681-481D-865B-C72E74AE8CAC}"/>
                </a:ext>
              </a:extLst>
            </p:cNvPr>
            <p:cNvSpPr/>
            <p:nvPr/>
          </p:nvSpPr>
          <p:spPr>
            <a:xfrm>
              <a:off x="7440849" y="3977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11ADC47D-17BD-43EB-A81F-DBFB14A9339E}"/>
                </a:ext>
              </a:extLst>
            </p:cNvPr>
            <p:cNvSpPr/>
            <p:nvPr/>
          </p:nvSpPr>
          <p:spPr>
            <a:xfrm>
              <a:off x="4739076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6973D790-702B-4E2E-AD35-C320DB60140A}"/>
                </a:ext>
              </a:extLst>
            </p:cNvPr>
            <p:cNvSpPr/>
            <p:nvPr/>
          </p:nvSpPr>
          <p:spPr>
            <a:xfrm>
              <a:off x="5125044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B8A1BF62-6C99-489D-A8CB-27A5DF13CEFD}"/>
                </a:ext>
              </a:extLst>
            </p:cNvPr>
            <p:cNvSpPr/>
            <p:nvPr/>
          </p:nvSpPr>
          <p:spPr>
            <a:xfrm>
              <a:off x="5896979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3D7C213A-90B8-445B-89B1-8793E888A211}"/>
                </a:ext>
              </a:extLst>
            </p:cNvPr>
            <p:cNvGrpSpPr/>
            <p:nvPr/>
          </p:nvGrpSpPr>
          <p:grpSpPr>
            <a:xfrm>
              <a:off x="5511011" y="4415123"/>
              <a:ext cx="896343" cy="132702"/>
              <a:chOff x="4084956" y="4032069"/>
              <a:chExt cx="941160" cy="139337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8574227D-5FA6-4D9D-B095-3688CC9C7D15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208EFB8C-89BD-48E5-B954-0E722B2ED74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438FD456-0805-44A8-9F8E-FED1CC27C1F2}"/>
                </a:ext>
              </a:extLst>
            </p:cNvPr>
            <p:cNvSpPr/>
            <p:nvPr/>
          </p:nvSpPr>
          <p:spPr>
            <a:xfrm>
              <a:off x="7054882" y="441512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5D351A33-3EFD-4B5D-8065-DB142D85D5CE}"/>
                </a:ext>
              </a:extLst>
            </p:cNvPr>
            <p:cNvSpPr/>
            <p:nvPr/>
          </p:nvSpPr>
          <p:spPr>
            <a:xfrm>
              <a:off x="6668914" y="480027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DE8A56FA-16D1-4AD9-94D6-3B2ED689A78A}"/>
                </a:ext>
              </a:extLst>
            </p:cNvPr>
            <p:cNvSpPr/>
            <p:nvPr/>
          </p:nvSpPr>
          <p:spPr>
            <a:xfrm>
              <a:off x="7440849" y="4795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A18F1955-048F-4A5B-84E4-65522AEC2A7F}"/>
                </a:ext>
              </a:extLst>
            </p:cNvPr>
            <p:cNvSpPr/>
            <p:nvPr/>
          </p:nvSpPr>
          <p:spPr>
            <a:xfrm>
              <a:off x="1651335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012ACFD5-FD55-4881-B982-3EAD5E0E08BD}"/>
                </a:ext>
              </a:extLst>
            </p:cNvPr>
            <p:cNvSpPr/>
            <p:nvPr/>
          </p:nvSpPr>
          <p:spPr>
            <a:xfrm>
              <a:off x="2037303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74132A2-856C-4C71-8A64-998CCB489EA0}"/>
                </a:ext>
              </a:extLst>
            </p:cNvPr>
            <p:cNvSpPr/>
            <p:nvPr/>
          </p:nvSpPr>
          <p:spPr>
            <a:xfrm>
              <a:off x="2809238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8677024A-4830-4FA2-B427-1D5D4B6E4124}"/>
                </a:ext>
              </a:extLst>
            </p:cNvPr>
            <p:cNvGrpSpPr/>
            <p:nvPr/>
          </p:nvGrpSpPr>
          <p:grpSpPr>
            <a:xfrm>
              <a:off x="2423270" y="5233019"/>
              <a:ext cx="896343" cy="132702"/>
              <a:chOff x="4084956" y="4032069"/>
              <a:chExt cx="941160" cy="139337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7B4575D-5CBC-4010-9911-1B241F922C62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8E2123AE-63F9-4C27-BFFC-5073B3D836F7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70B739FE-D676-4B95-AEE6-49491A280C15}"/>
                </a:ext>
              </a:extLst>
            </p:cNvPr>
            <p:cNvSpPr/>
            <p:nvPr/>
          </p:nvSpPr>
          <p:spPr>
            <a:xfrm>
              <a:off x="3967141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EC5CE840-9991-4FE7-8D70-B33234D772C8}"/>
                </a:ext>
              </a:extLst>
            </p:cNvPr>
            <p:cNvSpPr/>
            <p:nvPr/>
          </p:nvSpPr>
          <p:spPr>
            <a:xfrm>
              <a:off x="3581173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568FFA54-DB93-4A2D-A4AE-3C52F9A12CB2}"/>
                </a:ext>
              </a:extLst>
            </p:cNvPr>
            <p:cNvSpPr/>
            <p:nvPr/>
          </p:nvSpPr>
          <p:spPr>
            <a:xfrm>
              <a:off x="4353108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4F554746-ACE0-42DB-80AD-9853357E0D9C}"/>
                </a:ext>
              </a:extLst>
            </p:cNvPr>
            <p:cNvSpPr/>
            <p:nvPr/>
          </p:nvSpPr>
          <p:spPr>
            <a:xfrm>
              <a:off x="4739076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56C144BF-002C-4636-A769-EA5BE14691C1}"/>
                </a:ext>
              </a:extLst>
            </p:cNvPr>
            <p:cNvSpPr/>
            <p:nvPr/>
          </p:nvSpPr>
          <p:spPr>
            <a:xfrm>
              <a:off x="5125044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F6479F5-3BDE-4281-8380-F6877B69EBF6}"/>
                </a:ext>
              </a:extLst>
            </p:cNvPr>
            <p:cNvSpPr/>
            <p:nvPr/>
          </p:nvSpPr>
          <p:spPr>
            <a:xfrm>
              <a:off x="5896979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2AB8AF73-F8AE-4890-A984-2445F8F07F6E}"/>
                </a:ext>
              </a:extLst>
            </p:cNvPr>
            <p:cNvGrpSpPr/>
            <p:nvPr/>
          </p:nvGrpSpPr>
          <p:grpSpPr>
            <a:xfrm>
              <a:off x="5511011" y="5233019"/>
              <a:ext cx="896343" cy="132702"/>
              <a:chOff x="4084956" y="4032069"/>
              <a:chExt cx="941160" cy="139337"/>
            </a:xfrm>
          </p:grpSpPr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CA1B4068-B622-4ADB-BD06-AAFB5E988CEB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EB1CDE58-3FB4-4FE1-9688-0F6771976FAA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466B4D05-E82F-4C3F-959C-6324E785EB54}"/>
                </a:ext>
              </a:extLst>
            </p:cNvPr>
            <p:cNvSpPr/>
            <p:nvPr/>
          </p:nvSpPr>
          <p:spPr>
            <a:xfrm>
              <a:off x="7054882" y="523301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1E3E455D-7A42-443C-A9F6-A375B42EC1A5}"/>
                </a:ext>
              </a:extLst>
            </p:cNvPr>
            <p:cNvSpPr/>
            <p:nvPr/>
          </p:nvSpPr>
          <p:spPr>
            <a:xfrm>
              <a:off x="6668914" y="561816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D3236A39-4657-4B18-B137-FE87F66910E0}"/>
                </a:ext>
              </a:extLst>
            </p:cNvPr>
            <p:cNvSpPr/>
            <p:nvPr/>
          </p:nvSpPr>
          <p:spPr>
            <a:xfrm>
              <a:off x="7440849" y="5612898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EFFF403B-5C36-4092-8A57-4588B586D4F8}"/>
                </a:ext>
              </a:extLst>
            </p:cNvPr>
            <p:cNvSpPr/>
            <p:nvPr/>
          </p:nvSpPr>
          <p:spPr>
            <a:xfrm>
              <a:off x="7891485" y="195731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FEA93E65-9D89-43F2-9517-30E9FFF988C3}"/>
                </a:ext>
              </a:extLst>
            </p:cNvPr>
            <p:cNvSpPr/>
            <p:nvPr/>
          </p:nvSpPr>
          <p:spPr>
            <a:xfrm>
              <a:off x="8277453" y="2342460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B8F7CF17-7A8E-4647-B64B-F0D853C45729}"/>
                </a:ext>
              </a:extLst>
            </p:cNvPr>
            <p:cNvSpPr/>
            <p:nvPr/>
          </p:nvSpPr>
          <p:spPr>
            <a:xfrm>
              <a:off x="9049388" y="233719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4755BCB5-508C-4091-B3DE-5DBF0DA96635}"/>
                </a:ext>
              </a:extLst>
            </p:cNvPr>
            <p:cNvGrpSpPr/>
            <p:nvPr/>
          </p:nvGrpSpPr>
          <p:grpSpPr>
            <a:xfrm>
              <a:off x="8663420" y="1957312"/>
              <a:ext cx="896343" cy="132702"/>
              <a:chOff x="4084956" y="4032069"/>
              <a:chExt cx="941160" cy="139337"/>
            </a:xfrm>
          </p:grpSpPr>
          <p:sp>
            <p:nvSpPr>
              <p:cNvPr id="144" name="Oval 143">
                <a:extLst>
                  <a:ext uri="{FF2B5EF4-FFF2-40B4-BE49-F238E27FC236}">
                    <a16:creationId xmlns:a16="http://schemas.microsoft.com/office/drawing/2014/main" id="{3E866F22-0B39-4A72-9126-5E18D724B992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DFDDC4D6-0B9C-432E-8CDD-AE91ABDCB5DD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CBA2AE3A-97A6-40F5-89E7-E8C32D457807}"/>
                </a:ext>
              </a:extLst>
            </p:cNvPr>
            <p:cNvSpPr/>
            <p:nvPr/>
          </p:nvSpPr>
          <p:spPr>
            <a:xfrm>
              <a:off x="10207291" y="1957312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FFAFBFBD-2BB5-48FC-BB97-617F3C88CF1D}"/>
                </a:ext>
              </a:extLst>
            </p:cNvPr>
            <p:cNvSpPr/>
            <p:nvPr/>
          </p:nvSpPr>
          <p:spPr>
            <a:xfrm>
              <a:off x="9821323" y="2342460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8309817-4313-40CD-9A51-AE76ADC0A9ED}"/>
                </a:ext>
              </a:extLst>
            </p:cNvPr>
            <p:cNvSpPr/>
            <p:nvPr/>
          </p:nvSpPr>
          <p:spPr>
            <a:xfrm>
              <a:off x="7891485" y="2775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0B44DFF8-47EA-48C9-B88B-14CCA2F1021F}"/>
                </a:ext>
              </a:extLst>
            </p:cNvPr>
            <p:cNvSpPr/>
            <p:nvPr/>
          </p:nvSpPr>
          <p:spPr>
            <a:xfrm>
              <a:off x="8277453" y="316035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1F178712-13A4-4106-A472-3074FBA1E248}"/>
                </a:ext>
              </a:extLst>
            </p:cNvPr>
            <p:cNvSpPr/>
            <p:nvPr/>
          </p:nvSpPr>
          <p:spPr>
            <a:xfrm>
              <a:off x="9049388" y="315508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1E778FF-4E9B-474F-8701-AF8CCBE302F9}"/>
                </a:ext>
              </a:extLst>
            </p:cNvPr>
            <p:cNvGrpSpPr/>
            <p:nvPr/>
          </p:nvGrpSpPr>
          <p:grpSpPr>
            <a:xfrm>
              <a:off x="8663420" y="2775209"/>
              <a:ext cx="896343" cy="132702"/>
              <a:chOff x="4084956" y="4032069"/>
              <a:chExt cx="941160" cy="139337"/>
            </a:xfrm>
          </p:grpSpPr>
          <p:sp>
            <p:nvSpPr>
              <p:cNvPr id="152" name="Oval 151">
                <a:extLst>
                  <a:ext uri="{FF2B5EF4-FFF2-40B4-BE49-F238E27FC236}">
                    <a16:creationId xmlns:a16="http://schemas.microsoft.com/office/drawing/2014/main" id="{9F662731-91A4-4509-8318-32FA1CD7F40E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BF73023A-D6B9-469A-A9F5-BD1B9C2C2FF0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C9C0FB53-A69A-43AE-A644-E3EAB25E1352}"/>
                </a:ext>
              </a:extLst>
            </p:cNvPr>
            <p:cNvSpPr/>
            <p:nvPr/>
          </p:nvSpPr>
          <p:spPr>
            <a:xfrm>
              <a:off x="10207291" y="277520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F9C1B5C2-CEA4-40CC-BAA4-5F2A0350B58D}"/>
                </a:ext>
              </a:extLst>
            </p:cNvPr>
            <p:cNvSpPr/>
            <p:nvPr/>
          </p:nvSpPr>
          <p:spPr>
            <a:xfrm>
              <a:off x="9821323" y="316035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A35A2AFF-5A04-49AC-843F-40C98270DC71}"/>
                </a:ext>
              </a:extLst>
            </p:cNvPr>
            <p:cNvSpPr/>
            <p:nvPr/>
          </p:nvSpPr>
          <p:spPr>
            <a:xfrm>
              <a:off x="7891485" y="3593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68E76ED7-BC1F-40B5-8D45-59F3E179E3FE}"/>
                </a:ext>
              </a:extLst>
            </p:cNvPr>
            <p:cNvSpPr/>
            <p:nvPr/>
          </p:nvSpPr>
          <p:spPr>
            <a:xfrm>
              <a:off x="8277453" y="397825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83481CB1-8DDB-4D05-8330-3067292FC9E2}"/>
                </a:ext>
              </a:extLst>
            </p:cNvPr>
            <p:cNvSpPr/>
            <p:nvPr/>
          </p:nvSpPr>
          <p:spPr>
            <a:xfrm>
              <a:off x="9049388" y="397298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5084C0F2-CA6B-4DA9-B47A-110E9ABC32A3}"/>
                </a:ext>
              </a:extLst>
            </p:cNvPr>
            <p:cNvGrpSpPr/>
            <p:nvPr/>
          </p:nvGrpSpPr>
          <p:grpSpPr>
            <a:xfrm>
              <a:off x="8663420" y="3593105"/>
              <a:ext cx="896343" cy="132702"/>
              <a:chOff x="4084956" y="4032069"/>
              <a:chExt cx="941160" cy="139337"/>
            </a:xfrm>
          </p:grpSpPr>
          <p:sp>
            <p:nvSpPr>
              <p:cNvPr id="160" name="Oval 159">
                <a:extLst>
                  <a:ext uri="{FF2B5EF4-FFF2-40B4-BE49-F238E27FC236}">
                    <a16:creationId xmlns:a16="http://schemas.microsoft.com/office/drawing/2014/main" id="{80FDA0FA-B75C-4D44-A22B-2A6E650FDED9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71BB3DA0-1AB5-40BF-8E2A-D9D6A0373D2C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9A3D41AF-8545-4603-A200-75767E3E2031}"/>
                </a:ext>
              </a:extLst>
            </p:cNvPr>
            <p:cNvSpPr/>
            <p:nvPr/>
          </p:nvSpPr>
          <p:spPr>
            <a:xfrm>
              <a:off x="10207291" y="359310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B08127F1-0F72-4992-ABC1-5CF12BEB5ED0}"/>
                </a:ext>
              </a:extLst>
            </p:cNvPr>
            <p:cNvSpPr/>
            <p:nvPr/>
          </p:nvSpPr>
          <p:spPr>
            <a:xfrm>
              <a:off x="9821323" y="3978253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29C172FE-8108-4F73-9F9C-E58860C906A6}"/>
                </a:ext>
              </a:extLst>
            </p:cNvPr>
            <p:cNvSpPr/>
            <p:nvPr/>
          </p:nvSpPr>
          <p:spPr>
            <a:xfrm>
              <a:off x="7891485" y="4411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F725AD73-1F04-47BB-9078-98E04A9AC060}"/>
                </a:ext>
              </a:extLst>
            </p:cNvPr>
            <p:cNvSpPr/>
            <p:nvPr/>
          </p:nvSpPr>
          <p:spPr>
            <a:xfrm>
              <a:off x="8277453" y="479614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7AF58A70-A604-436D-9268-465600E0323B}"/>
                </a:ext>
              </a:extLst>
            </p:cNvPr>
            <p:cNvSpPr/>
            <p:nvPr/>
          </p:nvSpPr>
          <p:spPr>
            <a:xfrm>
              <a:off x="9049388" y="479087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CC3A9919-F432-4900-9146-55064AD6525D}"/>
                </a:ext>
              </a:extLst>
            </p:cNvPr>
            <p:cNvGrpSpPr/>
            <p:nvPr/>
          </p:nvGrpSpPr>
          <p:grpSpPr>
            <a:xfrm>
              <a:off x="8663420" y="4411001"/>
              <a:ext cx="896343" cy="132702"/>
              <a:chOff x="4084956" y="4032069"/>
              <a:chExt cx="941160" cy="139337"/>
            </a:xfrm>
          </p:grpSpPr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65DBA816-C808-4710-98D8-05D0CDAFB196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9C7CBE3E-C887-4D01-A8A3-1D0DD14BC18D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0126AF86-AC3C-453E-907F-4C4BADF8CFC3}"/>
                </a:ext>
              </a:extLst>
            </p:cNvPr>
            <p:cNvSpPr/>
            <p:nvPr/>
          </p:nvSpPr>
          <p:spPr>
            <a:xfrm>
              <a:off x="10207291" y="4411001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000DDB12-21DA-4737-AA91-C7C996484D3F}"/>
                </a:ext>
              </a:extLst>
            </p:cNvPr>
            <p:cNvSpPr/>
            <p:nvPr/>
          </p:nvSpPr>
          <p:spPr>
            <a:xfrm>
              <a:off x="9821323" y="4796149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628698C0-B277-4482-840D-50E767AEEB9D}"/>
                </a:ext>
              </a:extLst>
            </p:cNvPr>
            <p:cNvSpPr/>
            <p:nvPr/>
          </p:nvSpPr>
          <p:spPr>
            <a:xfrm>
              <a:off x="7891485" y="522889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B63DAC21-BD97-4EBB-BFF2-8BE55D06405A}"/>
                </a:ext>
              </a:extLst>
            </p:cNvPr>
            <p:cNvSpPr/>
            <p:nvPr/>
          </p:nvSpPr>
          <p:spPr>
            <a:xfrm>
              <a:off x="8277453" y="561404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6D8DDD54-D0FF-4114-A453-E80E4D7A72D5}"/>
                </a:ext>
              </a:extLst>
            </p:cNvPr>
            <p:cNvSpPr/>
            <p:nvPr/>
          </p:nvSpPr>
          <p:spPr>
            <a:xfrm>
              <a:off x="9049388" y="5608776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A868171B-E125-41AF-B6D2-7EEBC99A0868}"/>
                </a:ext>
              </a:extLst>
            </p:cNvPr>
            <p:cNvGrpSpPr/>
            <p:nvPr/>
          </p:nvGrpSpPr>
          <p:grpSpPr>
            <a:xfrm>
              <a:off x="8663420" y="5228897"/>
              <a:ext cx="896343" cy="132702"/>
              <a:chOff x="4084956" y="4032069"/>
              <a:chExt cx="941160" cy="139337"/>
            </a:xfrm>
          </p:grpSpPr>
          <p:sp>
            <p:nvSpPr>
              <p:cNvPr id="176" name="Oval 175">
                <a:extLst>
                  <a:ext uri="{FF2B5EF4-FFF2-40B4-BE49-F238E27FC236}">
                    <a16:creationId xmlns:a16="http://schemas.microsoft.com/office/drawing/2014/main" id="{B7CA5439-D1F2-47D6-B6D8-6137AF321241}"/>
                  </a:ext>
                </a:extLst>
              </p:cNvPr>
              <p:cNvSpPr/>
              <p:nvPr/>
            </p:nvSpPr>
            <p:spPr>
              <a:xfrm>
                <a:off x="4084956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77" name="Oval 176">
                <a:extLst>
                  <a:ext uri="{FF2B5EF4-FFF2-40B4-BE49-F238E27FC236}">
                    <a16:creationId xmlns:a16="http://schemas.microsoft.com/office/drawing/2014/main" id="{C58B0F3B-18AF-4474-BCE1-95BA563F9179}"/>
                  </a:ext>
                </a:extLst>
              </p:cNvPr>
              <p:cNvSpPr/>
              <p:nvPr/>
            </p:nvSpPr>
            <p:spPr>
              <a:xfrm>
                <a:off x="4895488" y="4032069"/>
                <a:ext cx="130628" cy="139337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87087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5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A6404671-DF1A-45E1-BA57-6AD9D207E0C8}"/>
                </a:ext>
              </a:extLst>
            </p:cNvPr>
            <p:cNvSpPr/>
            <p:nvPr/>
          </p:nvSpPr>
          <p:spPr>
            <a:xfrm>
              <a:off x="10207291" y="5228897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A93C7CB7-6CBC-4DD2-A20A-6FD4E703AAC3}"/>
                </a:ext>
              </a:extLst>
            </p:cNvPr>
            <p:cNvSpPr/>
            <p:nvPr/>
          </p:nvSpPr>
          <p:spPr>
            <a:xfrm>
              <a:off x="9821323" y="5614045"/>
              <a:ext cx="124408" cy="132702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52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7140A03-9E59-4B4F-8FEA-2A92C7A31C4C}"/>
              </a:ext>
            </a:extLst>
          </p:cNvPr>
          <p:cNvGrpSpPr/>
          <p:nvPr/>
        </p:nvGrpSpPr>
        <p:grpSpPr>
          <a:xfrm>
            <a:off x="1158535" y="3116567"/>
            <a:ext cx="231240" cy="222349"/>
            <a:chOff x="987862" y="2824154"/>
            <a:chExt cx="242802" cy="233466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950320DC-10B7-4E52-818A-610640C7620E}"/>
                </a:ext>
              </a:extLst>
            </p:cNvPr>
            <p:cNvSpPr/>
            <p:nvPr/>
          </p:nvSpPr>
          <p:spPr>
            <a:xfrm>
              <a:off x="987862" y="2824154"/>
              <a:ext cx="242802" cy="23346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04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12AE549C-B836-4E40-99B9-D6FE8C170C8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48736" y="2940887"/>
              <a:ext cx="121054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1D9ED1B3-E151-42F8-8996-1640DEA87553}"/>
              </a:ext>
            </a:extLst>
          </p:cNvPr>
          <p:cNvGrpSpPr/>
          <p:nvPr/>
        </p:nvGrpSpPr>
        <p:grpSpPr>
          <a:xfrm>
            <a:off x="1000695" y="4570192"/>
            <a:ext cx="592402" cy="607758"/>
            <a:chOff x="825399" y="4142864"/>
            <a:chExt cx="622022" cy="638146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9308B060-BE44-401A-85D0-461068E23418}"/>
                </a:ext>
              </a:extLst>
            </p:cNvPr>
            <p:cNvSpPr/>
            <p:nvPr/>
          </p:nvSpPr>
          <p:spPr>
            <a:xfrm>
              <a:off x="825399" y="4142864"/>
              <a:ext cx="622022" cy="638146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708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429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897B0212-22C5-45BA-AAE9-E8F9B14164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81459" y="4461937"/>
              <a:ext cx="328229" cy="0"/>
            </a:xfrm>
            <a:prstGeom prst="line">
              <a:avLst/>
            </a:prstGeom>
            <a:solidFill>
              <a:schemeClr val="accent1"/>
            </a:solidFill>
            <a:ln w="476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11449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-0.00046 L 0.00065 -0.00023 C 0.00937 0.00093 0.00664 0.00093 0.01797 -0.00046 C 0.03008 -0.00162 0.0151 -0.00069 0.02356 -0.00208 C 0.02513 -0.00254 0.02773 -0.00254 0.0306 -0.00301 C 0.03112 -0.0037 0.0332 -0.00416 0.03424 -0.00463 C 0.0345 -0.00509 0.03515 -0.00532 0.03646 -0.00555 C 0.03672 -0.00602 0.03711 -0.00671 0.03763 -0.00717 C 0.03802 -0.00787 0.03854 -0.0081 0.03893 -0.00879 C 0.03997 -0.00972 0.04023 -0.01088 0.04075 -0.01134 C 0.0414 -0.01204 0.04505 -0.01319 0.04531 -0.01319 C 0.04778 -0.01342 0.04856 -0.01366 0.05117 -0.01412 C 0.05169 -0.01435 0.05377 -0.01458 0.05481 -0.01481 C 0.05573 -0.01551 0.05833 -0.0169 0.06028 -0.01736 C 0.06172 -0.01805 0.06497 -0.01921 0.06497 -0.01898 C 0.06692 -0.01875 0.06888 -0.01852 0.07096 -0.01829 C 0.07383 -0.01782 0.0776 -0.01967 0.07916 -0.01736 C 0.08138 -0.0162 0.07864 -0.01342 0.07812 -0.01134 C 0.07799 -0.01065 0.07773 -0.00972 0.0776 -0.00879 C 0.0763 -0.00787 0.07578 -0.00717 0.07539 -0.00625 C 0.07578 -0.00393 0.07539 -0.00046 0.0776 0.00046 C 0.08125 0.00301 0.07877 0.00185 0.0832 0.00394 C 0.0845 0.00417 0.08502 0.00463 0.08554 0.00486 C 0.08763 0.00509 0.08906 0.00533 0.0914 0.00556 C 0.09635 0.01273 0.08945 0.00394 0.09544 0.00972 C 0.09661 0.01204 0.09596 0.01204 0.09909 0.0132 C 0.10221 0.01482 0.10221 0.01435 0.10508 0.01528 C 0.11146 0.01783 0.10156 0.01435 0.10924 0.01713 C 0.11276 0.01667 0.11614 0.01667 0.11953 0.01621 C 0.12005 0.01597 0.12291 0.01505 0.12343 0.01459 C 0.12513 0.01389 0.1263 0.01273 0.12669 0.01204 C 0.12721 0.01181 0.12903 0.01204 0.12955 0.01134 C 0.12968 0.01065 0.12968 0.00949 0.12981 0.0088 C 0.13164 0.0081 0.13268 0.0081 0.13307 0.00741 C 0.13528 0.00625 0.1362 0.00509 0.13724 0.00394 C 0.13841 0.00324 0.13893 0.00301 0.13945 0.00232 C 0.13984 0.00139 0.1401 0.00023 0.14088 -0.00046 C 0.14192 -0.00092 0.14258 -0.00092 0.14336 -0.00116 C 0.14336 -0.00208 0.14336 -0.00301 0.14362 -0.0037 C 0.14388 -0.00486 0.1444 -0.00555 0.14596 -0.00625 C 0.147 -0.00787 0.15013 -0.01041 0.1526 -0.01134 C 0.15351 -0.01204 0.15416 -0.0125 0.15638 -0.01319 C 0.15677 -0.01342 0.1569 -0.01366 0.15742 -0.01412 C 0.16211 -0.01597 0.16015 -0.01528 0.16315 -0.01666 C 0.16797 -0.01412 0.16575 -0.01504 0.17096 -0.01412 C 0.17721 -0.00625 0.16601 -0.02083 0.17461 -0.01065 C 0.17591 -0.00995 0.17578 -0.00833 0.17695 -0.0081 C 0.17838 -0.00741 0.197 -0.00579 0.20117 -0.00555 C 0.20547 -0.00579 0.2108 -0.00579 0.21471 -0.00625 C 0.21653 -0.00648 0.21731 -0.00694 0.2181 -0.00717 C 0.21901 -0.00741 0.22096 -0.00787 0.22174 -0.0081 C 0.22526 -0.00856 0.22916 -0.00926 0.23385 -0.00972 C 0.23502 -0.00949 0.23567 -0.00972 0.23776 -0.00879 C 0.23815 -0.00833 0.23789 -0.00717 0.23815 -0.00625 C 0.23841 -0.00509 0.23906 -0.00393 0.24023 -0.00301 C 0.24049 -0.00208 0.24049 -0.00116 0.24088 -0.00046 C 0.24127 0.00046 0.24466 0.00278 0.24518 0.00301 C 0.247 0.00371 0.24856 0.00394 0.24961 0.00486 C 0.25091 0.00509 0.25195 0.00556 0.25208 0.00556 C 0.2539 0.00602 0.25547 0.00625 0.25768 0.00648 C 0.25872 0.00671 0.25937 0.00695 0.26146 0.00741 C 0.26458 0.00695 0.26771 0.00695 0.27096 0.00648 C 0.272 0.00625 0.27422 0.00533 0.27526 0.00486 C 0.27578 0.00394 0.27578 0.00278 0.27617 0.00232 C 0.27903 0.00023 0.27942 0.0007 0.28255 -0.00046 C 0.28919 -0.0037 0.28099 -0.00069 0.28789 -0.00301 C 0.29231 -0.00717 0.28606 -0.00208 0.29205 -0.00555 C 0.29284 -0.00579 0.29284 -0.00671 0.29362 -0.00717 C 0.29466 -0.00764 0.29518 -0.00764 0.29596 -0.0081 C 0.29635 -0.00856 0.297 -0.00926 0.2983 -0.00972 C 0.29909 -0.01018 0.29961 -0.01018 0.29987 -0.01065 C 0.30052 -0.01111 0.30195 -0.0118 0.30299 -0.01227 C 0.30338 -0.01296 0.30508 -0.01319 0.30638 -0.01412 C 0.31653 -0.02176 0.30169 -0.01273 0.31588 -0.02083 C 0.31653 -0.02153 0.31745 -0.02222 0.31914 -0.02245 C 0.32213 -0.02338 0.32435 -0.02361 0.32734 -0.0243 C 0.33021 -0.02477 0.3358 -0.02592 0.3358 -0.02569 C 0.33646 -0.02616 0.33698 -0.02662 0.33698 -0.02685 C 0.33945 -0.02754 0.34271 -0.02847 0.34271 -0.02824 C 0.34271 -0.0287 0.33906 -0.03125 0.3401 -0.03287 C 0.34036 -0.03333 0.34075 -0.03217 0.34218 -0.03194 C 0.34245 -0.03148 0.34375 -0.02778 0.34375 -0.02685 C 0.34362 -0.02639 0.3401 -0.02315 0.33958 -0.02245 C 0.33997 -0.02176 0.34023 -0.0206 0.34036 -0.01991 C 0.34245 -0.01829 0.34453 -0.01967 0.34648 -0.01991 C 0.34713 -0.01875 0.34726 -0.01759 0.34778 -0.01666 C 0.34896 -0.01574 0.34987 -0.01574 0.35026 -0.01481 C 0.35052 -0.01389 0.35052 -0.01227 0.35117 -0.01134 C 0.35156 -0.01088 0.35286 -0.01111 0.35351 -0.01065 C 0.3539 -0.01018 0.35429 -0.00949 0.35481 -0.00879 C 0.35742 -0.00764 0.35807 -0.00555 0.36067 -0.00555 C 0.36419 -0.00532 0.37552 -0.01528 0.3789 -0.01481 C 0.38294 -0.01504 0.39049 -0.00555 0.39557 -0.00625 C 0.39661 -0.00648 0.39726 -0.00694 0.39778 -0.00717 C 0.39843 -0.00764 0.4 -0.00764 0.40091 -0.0081 C 0.40156 -0.00879 0.40351 -0.01065 0.40495 -0.01065 C 0.4069 -0.01041 0.40833 -0.00949 0.41054 -0.00879 C 0.4151 -0.00741 0.41445 -0.00787 0.41771 -0.00625 C 0.41849 -0.00532 0.42044 -0.00416 0.42148 -0.00301 C 0.42187 -0.00231 0.422 -0.00162 0.42278 -0.00116 C 0.42422 -0.00069 0.42526 -0.00023 0.42552 0.00046 C 0.42955 0.0044 0.42526 0.00209 0.42929 0.00394 C 0.42942 0.00486 0.42942 0.00579 0.42981 0.00648 C 0.43086 0.00695 0.43528 0.0081 0.43528 0.00834 C 0.44297 0.01181 0.43112 0.00764 0.44271 0.01134 C 0.44531 0.01088 0.44674 0.01065 0.44909 0.01042 C 0.4513 0.01019 0.45286 0.01019 0.45547 0.00972 C 0.45677 0.00949 0.45924 0.0088 0.4612 0.0081 C 0.4625 0.00787 0.46315 0.00764 0.46523 0.00741 C 0.46614 0.00764 0.46692 0.00718 0.46849 0.0081 C 0.4694 0.00949 0.46914 0.01204 0.46953 0.0132 C 0.46953 0.01389 0.46979 0.01412 0.47057 0.01459 C 0.47148 0.01528 0.47161 0.01644 0.47226 0.01713 C 0.47291 0.01829 0.47526 0.01875 0.4763 0.01968 C 0.47995 0.01273 0.47539 0.02153 0.47929 0.01528 C 0.47955 0.01459 0.47968 0.01389 0.47995 0.0132 C 0.48047 0.01273 0.48164 0.01273 0.48242 0.01204 C 0.48307 0.01134 0.48359 0.01042 0.48502 0.00972 C 0.48646 0.00834 0.48841 0.00718 0.48984 0.00556 C 0.49023 0.00486 0.49062 0.00347 0.49218 0.00301 C 0.49323 0.00232 0.49531 0.00255 0.49648 0.00232 C 0.49661 0.00255 0.49778 0.00278 0.49922 0.00301 C 0.50377 0.00417 0.5069 0.00394 0.5112 0.00648 C 0.51263 0.00695 0.51341 0.00764 0.51367 0.0081 C 0.51432 0.0088 0.5164 0.00972 0.51705 0.01042 C 0.5237 0.0132 0.5164 0.00857 0.52343 0.01273 C 0.52383 0.0132 0.52396 0.01343 0.52474 0.01389 C 0.52669 0.01459 0.52981 0.01644 0.53112 0.01713 C 0.53346 0.01759 0.53463 0.01829 0.53685 0.01875 C 0.54036 0.02176 0.5375 0.02014 0.54349 0.0213 C 0.55117 0.02315 0.53854 0.02153 0.55625 0.02315 C 0.55885 0.02269 0.56224 0.02315 0.5664 0.02199 C 0.56731 0.02199 0.56692 0.02014 0.56771 0.01968 C 0.57031 0.01736 0.57487 0.01389 0.57487 0.01412 C 0.575 0.0132 0.57474 0.01204 0.57526 0.01204 C 0.57604 0.01204 0.57799 0.01783 0.57929 0.01459 C 0.58047 0.01389 0.5819 0.01158 0.58242 0.01088 C 0.58385 0.00903 0.58515 0.00648 0.58737 0.00556 C 0.58971 0.0044 0.58567 -0.00347 0.58893 -0.00463 C 0.58932 -0.00509 0.59049 -0.00625 0.59153 -0.00625 C 0.59453 -0.00671 0.5983 -0.00579 0.60104 -0.0037 C 0.60182 -0.00301 0.60195 -0.00185 0.60299 -0.00116 C 0.60416 -0.00069 0.60481 -0.00069 0.60547 -0.00046 C 0.60599 0.00046 0.60768 0.00162 0.60859 0.00232 C 0.61067 0.00324 0.61224 0.00394 0.61445 0.00486 C 0.61497 0.00509 0.61562 0.00533 0.61588 0.00556 C 0.6164 0.00579 0.61784 0.00602 0.61849 0.00648 C 0.61901 0.00602 0.62096 0.00579 0.62226 0.00556 C 0.625 0.00417 0.62526 0.01273 0.62812 0.01134 C 0.62669 0.01759 0.6289 0.01435 0.62812 0.02153 C 0.62981 0.02084 0.6362 0.02894 0.63945 0.02824 " pathEditMode="relative" rAng="0" ptsTypes="AAAAAAAAAAAAAAAAAAAAAAAAAAAAAAAAAAAAAAAAAAAAAAAAAAAAAAAAAAAAAAAAAAAAAAAAAAAAAAAAAAAAAAAAAAAAAAAAAAAAAAAAAAAAAAAAAAAAAAAAAAAAAAAAAAAAAAAAAAAAAAAAAAAAAAA">
                                      <p:cBhvr>
                                        <p:cTn id="6" dur="4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940" y="-18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0.00116 L 0.00017 0.00116 C 0.00208 0.00209 0.00399 0.00301 0.0059 0.00394 C 0.01145 0.00649 0.00677 0.00487 0.01163 0.00649 C 0.01423 0.00625 0.03229 0.00672 0.03854 0.00394 C 0.03975 0.00325 0.04114 0.00301 0.04236 0.00209 C 0.04409 0.00093 0.04566 -0.00069 0.04757 -0.00138 C 0.05173 -0.00254 0.05607 -0.00254 0.06041 -0.003 C 0.06163 -0.00277 0.06284 -0.00254 0.06423 -0.00208 C 0.06475 -0.00185 0.06562 -0.00208 0.06614 -0.00138 C 0.06684 0.00024 0.06701 0.00209 0.06736 0.00394 C 0.06753 0.00463 0.06753 0.00579 0.06805 0.00649 L 0.06996 0.00811 C 0.07205 0.01667 0.06875 0.00325 0.07118 0.01412 C 0.0717 0.01575 0.07205 0.0176 0.07257 0.01922 C 0.07274 0.02014 0.07274 0.02107 0.07309 0.02176 C 0.07361 0.02269 0.07413 0.02338 0.07448 0.02431 C 0.07465 0.02524 0.07482 0.02616 0.075 0.02686 C 0.07534 0.02801 0.07534 0.0294 0.07569 0.03033 C 0.07621 0.03149 0.07708 0.03218 0.0776 0.03287 C 0.0776 0.03311 0.07864 0.04005 0.07899 0.04051 C 0.07934 0.04167 0.0802 0.04237 0.0809 0.04329 C 0.08142 0.04399 0.08159 0.04514 0.08211 0.04584 C 0.08281 0.04653 0.08385 0.047 0.08472 0.04746 C 0.08854 0.04954 0.08784 0.04885 0.09114 0.05 C 0.09166 0.05024 0.09236 0.0507 0.09305 0.05093 C 0.0934 0.05209 0.09375 0.05325 0.09427 0.0544 C 0.09479 0.0551 0.09583 0.0551 0.09618 0.05602 C 0.09705 0.05764 0.09791 0.06575 0.1 0.06621 L 0.10399 0.06713 C 0.10538 0.0669 0.10694 0.0669 0.10833 0.06621 C 0.11163 0.06505 0.11041 0.06181 0.11093 0.05764 C 0.11111 0.05649 0.11145 0.05556 0.11163 0.0544 C 0.1118 0.0507 0.11145 0.04676 0.11232 0.04329 C 0.1125 0.04213 0.11371 0.04213 0.11423 0.04144 C 0.11475 0.04075 0.11493 0.03959 0.11545 0.03889 C 0.11614 0.0382 0.11718 0.03774 0.11805 0.03727 C 0.11875 0.03658 0.11927 0.03612 0.11996 0.03542 C 0.121 0.03311 0.12205 0.03102 0.12309 0.02871 C 0.12361 0.02778 0.12448 0.02616 0.12448 0.02616 C 0.12465 0.02431 0.12465 0.02269 0.125 0.02084 C 0.12534 0.01991 0.12586 0.01922 0.12639 0.01829 C 0.12673 0.01783 0.13003 0.01297 0.13142 0.0125 C 0.13767 0.00996 0.14444 0.01019 0.15069 0.00973 C 0.15156 0.0095 0.15434 0.0088 0.15399 0.00649 C 0.15382 0.00556 0.1526 0.00579 0.15191 0.00556 C 0.14878 0.00672 0.14843 0.00718 0.14427 0.00556 C 0.14375 0.00533 0.1434 0.0044 0.14305 0.00394 C 0.14305 0.00325 0.14375 -0.00393 0.14427 -0.00555 C 0.14461 -0.00625 0.14514 -0.00671 0.14566 -0.00717 C 0.14618 -0.00694 0.14687 -0.00671 0.14757 -0.00648 C 0.14861 -0.00601 0.14965 -0.00625 0.15069 -0.00555 C 0.15208 -0.00463 0.15312 -0.00277 0.15451 -0.00208 L 0.15642 -0.00138 C 0.15902 0.00093 0.15868 -0.00046 0.15781 0.00394 C 0.15764 0.00463 0.15781 0.00602 0.15711 0.00649 C 0.15538 0.00741 0.1533 0.00695 0.15139 0.00718 C 0.15052 0.00811 0.14982 0.00926 0.14878 0.00973 C 0.14757 0.01042 0.146 0.0095 0.14496 0.01065 C 0.14444 0.01135 0.14514 0.0125 0.14566 0.0132 C 0.146 0.01412 0.14687 0.01436 0.14757 0.01505 C 0.14791 0.01551 0.14826 0.01621 0.14878 0.01667 C 0.15 0.01737 0.1526 0.01829 0.1526 0.01829 C 0.15416 0.01806 0.15573 0.01829 0.15711 0.0176 C 0.15798 0.01713 0.15833 0.01575 0.15902 0.01505 C 0.15955 0.01436 0.16024 0.01436 0.16093 0.01412 C 0.16145 0.01621 0.16163 0.0176 0.16284 0.01922 C 0.16336 0.01991 0.16423 0.02037 0.16475 0.02084 C 0.1651 0.02176 0.1651 0.02269 0.16545 0.02362 C 0.1658 0.02454 0.16649 0.02524 0.16666 0.02616 C 0.16892 0.03287 0.16649 0.02987 0.16996 0.03287 C 0.17118 0.0382 0.16996 0.03797 0.17309 0.03889 C 0.17413 0.03936 0.17534 0.03959 0.17639 0.03982 C 0.17691 0.04051 0.17777 0.04144 0.1783 0.04237 C 0.18038 0.04653 0.17708 0.04352 0.1802 0.04746 C 0.18073 0.04815 0.18142 0.04885 0.18211 0.04908 C 0.18333 0.05 0.18593 0.05093 0.18593 0.05093 C 0.18663 0.05139 0.18732 0.05186 0.18784 0.05255 C 0.18836 0.05325 0.18854 0.0544 0.18923 0.0551 C 0.19027 0.05649 0.19305 0.05857 0.19305 0.05857 C 0.1934 0.0595 0.19375 0.06042 0.19427 0.06112 C 0.19479 0.06181 0.19566 0.06135 0.19618 0.06204 C 0.19652 0.0625 0.19739 0.06806 0.19757 0.06806 C 0.19791 0.06899 0.19878 0.06968 0.19948 0.07061 C 0.19982 0.0713 0.20034 0.07223 0.20069 0.07315 C 0.20243 0.08218 0.20017 0.07153 0.2026 0.07917 C 0.20312 0.08079 0.20347 0.08264 0.20382 0.08426 C 0.20416 0.08519 0.20434 0.08588 0.20451 0.08681 C 0.20503 0.08912 0.2052 0.09144 0.2059 0.09375 C 0.20625 0.09537 0.20677 0.097 0.20711 0.09885 C 0.20729 0.1 0.20764 0.10116 0.20781 0.10232 C 0.20816 0.1051 0.20746 0.1088 0.20902 0.11088 L 0.21093 0.11343 C 0.21371 0.12061 0.21059 0.11366 0.21423 0.11852 C 0.21475 0.11922 0.21475 0.12037 0.21545 0.12107 C 0.21684 0.12223 0.2184 0.12292 0.21996 0.12362 C 0.22118 0.12431 0.22257 0.12431 0.22378 0.12524 C 0.22621 0.12755 0.225 0.12662 0.2276 0.12801 C 0.22986 0.12755 0.2342 0.12686 0.23663 0.12616 C 0.23732 0.12593 0.23784 0.1257 0.23854 0.12524 C 0.23923 0.12454 0.23993 0.12385 0.24045 0.12269 C 0.2408 0.122 0.2408 0.12107 0.24114 0.12014 C 0.24149 0.11875 0.24166 0.11713 0.24236 0.11598 C 0.24288 0.11505 0.24357 0.11482 0.24427 0.11412 C 0.24479 0.11274 0.24496 0.11135 0.24548 0.10996 C 0.24635 0.10811 0.24757 0.10672 0.24809 0.10487 L 0.24948 0.09977 C 0.24965 0.09885 0.24965 0.09769 0.25 0.097 C 0.25069 0.0963 0.25139 0.09537 0.25191 0.09445 C 0.25312 0.0926 0.25382 0.09028 0.2552 0.08843 C 0.25573 0.08797 0.25642 0.08774 0.25711 0.08774 C 0.25902 0.08727 0.26093 0.08704 0.26284 0.08681 C 0.26423 0.08635 0.26562 0.08612 0.26666 0.08519 C 0.26857 0.08357 0.26892 0.08287 0.27118 0.08264 C 0.27586 0.08218 0.28055 0.08195 0.28524 0.08172 C 0.28645 0.08149 0.2875 0.08149 0.28854 0.08079 C 0.2908 0.07917 0.28975 0.07315 0.28923 0.07153 C 0.28889 0.07061 0.28784 0.07084 0.28715 0.07061 C 0.28524 0.07084 0.28333 0.07153 0.28142 0.07153 C 0.27951 0.07153 0.27916 0.06991 0.2783 0.06806 C 0.27777 0.0669 0.27743 0.06575 0.27691 0.06459 C 0.27656 0.06366 0.27604 0.06297 0.27569 0.06204 C 0.27604 0.06042 0.27604 0.05811 0.27691 0.05695 L 0.2809 0.05186 C 0.28142 0.05232 0.28211 0.05301 0.28281 0.05348 C 0.28576 0.05533 0.28715 0.05533 0.29045 0.05602 C 0.29184 0.05556 0.29514 0.05463 0.29618 0.05348 C 0.2967 0.05278 0.2967 0.05186 0.29687 0.05093 C 0.29687 0.05 0.29652 0.0382 0.29809 0.0338 C 0.29843 0.03287 0.29895 0.03195 0.29948 0.03125 C 0.29982 0.03056 0.30017 0.0301 0.30069 0.0294 C 0.30121 0.02732 0.30139 0.02593 0.3026 0.02431 C 0.30312 0.02362 0.30399 0.02338 0.30451 0.02269 C 0.30538 0.02153 0.30625 0.02037 0.30711 0.01922 C 0.30764 0.01852 0.30781 0.01737 0.30833 0.01667 C 0.30955 0.01528 0.31111 0.01459 0.31215 0.0132 L 0.31406 0.01065 C 0.31545 0.01088 0.31666 0.01135 0.31805 0.01158 C 0.32812 0.01297 0.32343 0.01112 0.3283 0.0132 C 0.32864 0.01412 0.32899 0.01505 0.32951 0.01575 C 0.3302 0.0169 0.33125 0.01737 0.33211 0.01829 C 0.33281 0.01922 0.33333 0.02014 0.33402 0.02084 C 0.3342 0.02176 0.33455 0.02269 0.33472 0.02362 C 0.33489 0.02547 0.33489 0.02755 0.33524 0.0294 C 0.33559 0.03056 0.33611 0.03125 0.33663 0.03218 C 0.3368 0.03287 0.3368 0.0338 0.33715 0.03473 C 0.33767 0.03588 0.33819 0.03727 0.33906 0.03797 C 0.34635 0.04491 0.34583 0.04445 0.35191 0.04584 C 0.35347 0.04607 0.35503 0.0463 0.35642 0.04653 C 0.35902 0.04769 0.35798 0.04769 0.36093 0.04653 C 0.36215 0.04607 0.36475 0.04491 0.36475 0.04491 C 0.3651 0.047 0.36545 0.05093 0.36666 0.05255 C 0.36736 0.05348 0.3684 0.05371 0.36927 0.0544 C 0.36996 0.05348 0.37066 0.05278 0.37118 0.05186 C 0.3717 0.05093 0.37187 0.05 0.37239 0.04908 C 0.37673 0.04352 0.37343 0.04954 0.37691 0.04399 C 0.37743 0.04329 0.37777 0.04237 0.3783 0.04144 C 0.37882 0.04028 0.37951 0.03912 0.3802 0.03797 C 0.38055 0.03727 0.3809 0.03612 0.38142 0.03542 C 0.38194 0.03496 0.38281 0.03496 0.38333 0.03473 C 0.38437 0.0338 0.38819 0.0301 0.38975 0.0294 C 0.39132 0.02894 0.3927 0.02894 0.39427 0.02871 C 0.39496 0.02848 0.39566 0.02825 0.39618 0.02778 C 0.39739 0.02662 0.39948 0.02362 0.39948 0.02362 L 0.39948 0.0176 " pathEditMode="relative" ptsTypes="AAAAAAAAAAAAAAAAAAAAAAAAAAAAAAAAAAAAAAAAAAAAAAAAAAAAAAAAAAAAAAAAAAAAAAAAAAAAAAAAAAAAAAAAAAAAAAAAAAAAAAAAAAAAAAAAAAAAAAAAAAAAAAAAAAAAAAAAAAAAAAAAAAAAAAAAAAAAAAAAAAAAA">
                                      <p:cBhvr>
                                        <p:cTn id="8" dur="4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miniPCR bio Template PPT 080719_Apertura copia copy 26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559CB3F-7CF3-EF4B-A87F-A0E6BC4F958C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46382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iniPCR bio Template PPT 160719_Apertura copia copy 32.jpg">
            <a:extLst>
              <a:ext uri="{FF2B5EF4-FFF2-40B4-BE49-F238E27FC236}">
                <a16:creationId xmlns:a16="http://schemas.microsoft.com/office/drawing/2014/main" id="{870C9970-9969-4B02-9403-53D5B9CC47E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61"/>
            <a:ext cx="12192000" cy="68572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66EFE6-2E72-4FD4-8A69-76682B53F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elGreen</a:t>
            </a:r>
            <a:r>
              <a:rPr lang="en-US" sz="2400" baseline="30000" dirty="0"/>
              <a:t>®</a:t>
            </a:r>
            <a:r>
              <a:rPr lang="en-US" dirty="0"/>
              <a:t> Agarose Tab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635AAC-60FA-4E76-ACAA-EDB8ABE219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dd water.  Melt.  Pour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F6AF3E-9AD7-47D4-867D-A1450F38B9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Pre-weighed agarose tabs contain: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Agarose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Buffer</a:t>
            </a:r>
          </a:p>
          <a:p>
            <a:pPr marL="800100" lvl="1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DNA stain</a:t>
            </a:r>
          </a:p>
          <a:p>
            <a:r>
              <a:rPr lang="en-US" dirty="0"/>
              <a:t>One tab makes one 2% agarose gel</a:t>
            </a:r>
          </a:p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7135B68-91DC-431D-92B2-EAD301CFE7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3020" y="990600"/>
            <a:ext cx="5478780" cy="547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5400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8F6B6-DC71-4379-AE8E-10BB1422E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le Results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7FECE82-84C4-4BC6-BCCF-F271C8829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9084" y="1519517"/>
            <a:ext cx="2918929" cy="4367947"/>
          </a:xfrm>
          <a:prstGeom prst="rect">
            <a:avLst/>
          </a:prstGeom>
          <a:noFill/>
          <a:ln w="2540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4248BC10-83A0-4ADA-B9D7-82B1186AB7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0553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51527868-7FC9-485B-ADF0-A63EA8F660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1991231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8">
            <a:extLst>
              <a:ext uri="{FF2B5EF4-FFF2-40B4-BE49-F238E27FC236}">
                <a16:creationId xmlns:a16="http://schemas.microsoft.com/office/drawing/2014/main" id="{8116440E-606E-4F67-A8E8-A863F46AB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2382616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9">
            <a:extLst>
              <a:ext uri="{FF2B5EF4-FFF2-40B4-BE49-F238E27FC236}">
                <a16:creationId xmlns:a16="http://schemas.microsoft.com/office/drawing/2014/main" id="{0D6C4C07-DE6C-4A43-A930-1FC2727585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2684076"/>
            <a:ext cx="527650" cy="5272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10">
            <a:extLst>
              <a:ext uri="{FF2B5EF4-FFF2-40B4-BE49-F238E27FC236}">
                <a16:creationId xmlns:a16="http://schemas.microsoft.com/office/drawing/2014/main" id="{AA38AAA8-775B-46F1-82C8-DDA18E25B4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2863929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BBA969E8-EA45-47A1-9853-4A6950C3F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3038672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12">
            <a:extLst>
              <a:ext uri="{FF2B5EF4-FFF2-40B4-BE49-F238E27FC236}">
                <a16:creationId xmlns:a16="http://schemas.microsoft.com/office/drawing/2014/main" id="{28489840-272A-425E-98BF-D7DF97CBA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3250205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Rectangle 13">
            <a:extLst>
              <a:ext uri="{FF2B5EF4-FFF2-40B4-BE49-F238E27FC236}">
                <a16:creationId xmlns:a16="http://schemas.microsoft.com/office/drawing/2014/main" id="{62834CD5-0ACF-4409-9F21-51DFCF433F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3478087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14">
            <a:extLst>
              <a:ext uri="{FF2B5EF4-FFF2-40B4-BE49-F238E27FC236}">
                <a16:creationId xmlns:a16="http://schemas.microsoft.com/office/drawing/2014/main" id="{A74D9A7D-41BD-46C6-B6B9-4D5FB5416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2" y="3701882"/>
            <a:ext cx="527650" cy="52729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Rectangle 15">
            <a:extLst>
              <a:ext uri="{FF2B5EF4-FFF2-40B4-BE49-F238E27FC236}">
                <a16:creationId xmlns:a16="http://schemas.microsoft.com/office/drawing/2014/main" id="{65298D54-77B0-460D-B735-F5F08CAC1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008369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16">
            <a:extLst>
              <a:ext uri="{FF2B5EF4-FFF2-40B4-BE49-F238E27FC236}">
                <a16:creationId xmlns:a16="http://schemas.microsoft.com/office/drawing/2014/main" id="{1BF23B53-AAF4-4198-AB73-1016FFE65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326178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Rectangle 17">
            <a:extLst>
              <a:ext uri="{FF2B5EF4-FFF2-40B4-BE49-F238E27FC236}">
                <a16:creationId xmlns:a16="http://schemas.microsoft.com/office/drawing/2014/main" id="{06B80A98-A6E5-4CDE-9CE9-C5DC2317FD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4693038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18">
            <a:extLst>
              <a:ext uri="{FF2B5EF4-FFF2-40B4-BE49-F238E27FC236}">
                <a16:creationId xmlns:a16="http://schemas.microsoft.com/office/drawing/2014/main" id="{D96B2BAC-783B-4589-B389-C07127137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3231" y="5063986"/>
            <a:ext cx="527650" cy="32291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 Box 19">
            <a:extLst>
              <a:ext uri="{FF2B5EF4-FFF2-40B4-BE49-F238E27FC236}">
                <a16:creationId xmlns:a16="http://schemas.microsoft.com/office/drawing/2014/main" id="{29D8CE34-4F23-402A-898E-2EE4BA3444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924608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 Box 20">
            <a:extLst>
              <a:ext uri="{FF2B5EF4-FFF2-40B4-BE49-F238E27FC236}">
                <a16:creationId xmlns:a16="http://schemas.microsoft.com/office/drawing/2014/main" id="{D3B93C38-EFD1-40DC-B8A5-B8BA2B543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546236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 Box 21">
            <a:extLst>
              <a:ext uri="{FF2B5EF4-FFF2-40B4-BE49-F238E27FC236}">
                <a16:creationId xmlns:a16="http://schemas.microsoft.com/office/drawing/2014/main" id="{EED26C11-99D7-4DB9-AEAA-87165261A8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24426" y="3871406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Text Box 22">
            <a:extLst>
              <a:ext uri="{FF2B5EF4-FFF2-40B4-BE49-F238E27FC236}">
                <a16:creationId xmlns:a16="http://schemas.microsoft.com/office/drawing/2014/main" id="{E5C1ECB6-CC95-4311-992D-51290C69C3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4195488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 Box 23">
            <a:extLst>
              <a:ext uri="{FF2B5EF4-FFF2-40B4-BE49-F238E27FC236}">
                <a16:creationId xmlns:a16="http://schemas.microsoft.com/office/drawing/2014/main" id="{5162E40E-A242-44AC-BBBB-8C4B771334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577" y="3576719"/>
            <a:ext cx="434656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5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 Box 24">
            <a:extLst>
              <a:ext uri="{FF2B5EF4-FFF2-40B4-BE49-F238E27FC236}">
                <a16:creationId xmlns:a16="http://schemas.microsoft.com/office/drawing/2014/main" id="{F27E8F57-3423-48DD-81D4-FEFCCD49AC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5023" y="2564401"/>
            <a:ext cx="525210" cy="271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,00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Text Box 25">
            <a:extLst>
              <a:ext uri="{FF2B5EF4-FFF2-40B4-BE49-F238E27FC236}">
                <a16:creationId xmlns:a16="http://schemas.microsoft.com/office/drawing/2014/main" id="{BC33873C-81AB-4B01-A66A-FB9460A4D7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95876" y="1161476"/>
            <a:ext cx="1238572" cy="589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ad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 Box 26">
            <a:extLst>
              <a:ext uri="{FF2B5EF4-FFF2-40B4-BE49-F238E27FC236}">
                <a16:creationId xmlns:a16="http://schemas.microsoft.com/office/drawing/2014/main" id="{4D2A00C6-EC08-4E29-807A-D7FFE771FF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9816" y="1464369"/>
            <a:ext cx="445679" cy="695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ase Pairs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85D62565-14F9-4F0A-A914-B42B574C2B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8291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54A7D57F-3369-4299-AE11-90B8FDCAD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6029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78F622B2-BF60-4C0A-9D8B-6B9312443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3768" y="1695248"/>
            <a:ext cx="553006" cy="90116"/>
          </a:xfrm>
          <a:prstGeom prst="rect">
            <a:avLst/>
          </a:prstGeom>
          <a:solidFill>
            <a:srgbClr val="A6A6A6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9F68E91-A6FD-46CE-9B94-1AF438733E35}"/>
              </a:ext>
            </a:extLst>
          </p:cNvPr>
          <p:cNvSpPr txBox="1"/>
          <p:nvPr/>
        </p:nvSpPr>
        <p:spPr>
          <a:xfrm>
            <a:off x="5737860" y="1295612"/>
            <a:ext cx="607314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9300" indent="-749300"/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nu4HI cuts the “taster” allele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 – ?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 – ?</a:t>
            </a:r>
          </a:p>
          <a:p>
            <a:pPr marL="749300" indent="-7493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 – ?</a:t>
            </a:r>
          </a:p>
          <a:p>
            <a:endParaRPr lang="en-US" sz="3200" dirty="0">
              <a:solidFill>
                <a:schemeClr val="tx2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AFC8301-696E-4CE5-9A9A-D1CC0E5A1767}"/>
              </a:ext>
            </a:extLst>
          </p:cNvPr>
          <p:cNvSpPr/>
          <p:nvPr/>
        </p:nvSpPr>
        <p:spPr>
          <a:xfrm>
            <a:off x="3297409" y="1064149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</a:t>
            </a:r>
            <a:endParaRPr lang="en-US" sz="32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179AF08-2D66-4376-9AEE-22C130811B88}"/>
              </a:ext>
            </a:extLst>
          </p:cNvPr>
          <p:cNvSpPr/>
          <p:nvPr/>
        </p:nvSpPr>
        <p:spPr>
          <a:xfrm>
            <a:off x="3983466" y="1064149"/>
            <a:ext cx="4587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</a:t>
            </a:r>
            <a:endParaRPr lang="en-US" sz="32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3FFECCD-A80C-4C44-91A5-963D63D443C4}"/>
              </a:ext>
            </a:extLst>
          </p:cNvPr>
          <p:cNvSpPr/>
          <p:nvPr/>
        </p:nvSpPr>
        <p:spPr>
          <a:xfrm>
            <a:off x="4651972" y="1055080"/>
            <a:ext cx="4812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</a:t>
            </a:r>
            <a:endParaRPr lang="en-US" sz="3200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9ADD2A9-45BA-4EEC-86CC-7ADCF8FF5BC5}"/>
              </a:ext>
            </a:extLst>
          </p:cNvPr>
          <p:cNvSpPr/>
          <p:nvPr/>
        </p:nvSpPr>
        <p:spPr>
          <a:xfrm>
            <a:off x="3252325" y="4449680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D49A470-6348-4E3B-848F-8DDD4588D6BC}"/>
              </a:ext>
            </a:extLst>
          </p:cNvPr>
          <p:cNvSpPr/>
          <p:nvPr/>
        </p:nvSpPr>
        <p:spPr>
          <a:xfrm>
            <a:off x="3963529" y="4824488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1114EB0-2597-4401-9692-4F407CBDA3DF}"/>
              </a:ext>
            </a:extLst>
          </p:cNvPr>
          <p:cNvSpPr/>
          <p:nvPr/>
        </p:nvSpPr>
        <p:spPr>
          <a:xfrm>
            <a:off x="4651972" y="4440299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C657A72-FE14-4DF5-B1E0-0C127448789E}"/>
              </a:ext>
            </a:extLst>
          </p:cNvPr>
          <p:cNvCxnSpPr/>
          <p:nvPr/>
        </p:nvCxnSpPr>
        <p:spPr>
          <a:xfrm>
            <a:off x="5613221" y="1785364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ACE9A5FF-B285-4BC2-977C-13BC1AD1311A}"/>
              </a:ext>
            </a:extLst>
          </p:cNvPr>
          <p:cNvSpPr/>
          <p:nvPr/>
        </p:nvSpPr>
        <p:spPr>
          <a:xfrm>
            <a:off x="3963529" y="5061862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2FF964C-80FA-4451-8758-2007D6632EB8}"/>
              </a:ext>
            </a:extLst>
          </p:cNvPr>
          <p:cNvSpPr/>
          <p:nvPr/>
        </p:nvSpPr>
        <p:spPr>
          <a:xfrm>
            <a:off x="4651536" y="4824488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AA4D357-F469-4801-B2AB-23E6AC1E83EE}"/>
              </a:ext>
            </a:extLst>
          </p:cNvPr>
          <p:cNvSpPr/>
          <p:nvPr/>
        </p:nvSpPr>
        <p:spPr>
          <a:xfrm>
            <a:off x="4651536" y="5061862"/>
            <a:ext cx="535506" cy="4571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Picture 41" descr="IMG_20150630_235015879.jpg">
            <a:extLst>
              <a:ext uri="{FF2B5EF4-FFF2-40B4-BE49-F238E27FC236}">
                <a16:creationId xmlns:a16="http://schemas.microsoft.com/office/drawing/2014/main" id="{1118D432-8DAE-4E6C-9C92-BE11B3E851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56000"/>
                    </a14:imgEffect>
                    <a14:imgEffect>
                      <a14:brightnessContrast contras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4209" y="2964345"/>
            <a:ext cx="4003994" cy="2951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604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3" grpId="0" animBg="1"/>
      <p:bldP spid="45" grpId="0" animBg="1"/>
      <p:bldP spid="4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F0911-C9D3-463D-8FC1-21F0066BC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try it!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4776C3B-6D91-464D-8C31-598F6BC9E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10515600" cy="4063999"/>
          </a:xfrm>
        </p:spPr>
        <p:txBody>
          <a:bodyPr/>
          <a:lstStyle/>
          <a:p>
            <a:r>
              <a:rPr lang="en-US" dirty="0"/>
              <a:t>Place the paper on the tongue.</a:t>
            </a:r>
          </a:p>
          <a:p>
            <a:r>
              <a:rPr lang="en-US" dirty="0"/>
              <a:t>Important to use control paper too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C04FB4-F8C0-418A-B0DF-8E406BD4E20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3747078">
            <a:off x="6838837" y="566967"/>
            <a:ext cx="3174148" cy="52668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677E06-13DF-4896-BDA2-E8D83F0BF55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33763" y="3922781"/>
            <a:ext cx="2474620" cy="192858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DD14E27-D075-49EA-B512-95FBEC0D95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349380" y="3922780"/>
            <a:ext cx="2474619" cy="192858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A656AB8-39AA-4617-A153-3C575043924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118143" y="3922781"/>
            <a:ext cx="2474623" cy="19285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52E178B-88B8-4B76-B852-739F31E5CC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6467473" y="3920303"/>
            <a:ext cx="2469664" cy="19285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4A0B05-BF6A-4B78-94E2-5279CD636857}"/>
              </a:ext>
            </a:extLst>
          </p:cNvPr>
          <p:cNvSpPr txBox="1"/>
          <p:nvPr/>
        </p:nvSpPr>
        <p:spPr>
          <a:xfrm>
            <a:off x="1826592" y="3526475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B6C090-0F23-43B2-8F66-2E2F7421AD2F}"/>
              </a:ext>
            </a:extLst>
          </p:cNvPr>
          <p:cNvSpPr txBox="1"/>
          <p:nvPr/>
        </p:nvSpPr>
        <p:spPr>
          <a:xfrm>
            <a:off x="3942210" y="3526474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D868CD-ACF5-4335-8DCB-F4211B7CCFB4}"/>
              </a:ext>
            </a:extLst>
          </p:cNvPr>
          <p:cNvSpPr txBox="1"/>
          <p:nvPr/>
        </p:nvSpPr>
        <p:spPr>
          <a:xfrm>
            <a:off x="6057826" y="3526473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994123-813B-48E9-AE26-4DF41DD43A3B}"/>
              </a:ext>
            </a:extLst>
          </p:cNvPr>
          <p:cNvSpPr txBox="1"/>
          <p:nvPr/>
        </p:nvSpPr>
        <p:spPr>
          <a:xfrm>
            <a:off x="8173442" y="3527791"/>
            <a:ext cx="4931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1505749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3" grpId="0"/>
      <p:bldP spid="14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014547" y="1744595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047215" y="1744595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190419" y="1749649"/>
            <a:ext cx="1032668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227410" y="5134962"/>
            <a:ext cx="1201233" cy="4935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976E5A64-B29B-4C91-9C6B-12FD90081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160" y="472581"/>
            <a:ext cx="10515600" cy="823031"/>
          </a:xfrm>
        </p:spPr>
        <p:txBody>
          <a:bodyPr anchor="t"/>
          <a:lstStyle/>
          <a:p>
            <a:r>
              <a:rPr lang="en-US" dirty="0">
                <a:solidFill>
                  <a:schemeClr val="accent3"/>
                </a:solidFill>
              </a:rPr>
              <a:t>Results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D961A8-8194-4DB1-A99F-55AB8061AF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1408019"/>
            <a:ext cx="4889515" cy="467367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A8FA428-D274-4831-92B5-FAD70A15C6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944333" y="2990406"/>
            <a:ext cx="492550" cy="38463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D2C43A3-D1F4-4418-99A3-1F242484136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467984" y="2986970"/>
            <a:ext cx="496409" cy="38765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D96ED65-B8E7-4232-B9A4-A55A4D0853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416750" y="2989911"/>
            <a:ext cx="493540" cy="38463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1EDF3C4-486D-412A-A195-D32CCBC5BD5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002721" y="2987359"/>
            <a:ext cx="496409" cy="38687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A55763B-3429-4C78-AC7F-BFF6A716AC9C}"/>
              </a:ext>
            </a:extLst>
          </p:cNvPr>
          <p:cNvSpPr/>
          <p:nvPr/>
        </p:nvSpPr>
        <p:spPr>
          <a:xfrm>
            <a:off x="1223097" y="1408019"/>
            <a:ext cx="1805004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FEA894C-111D-4885-8B53-8C6A025DBAE5}"/>
              </a:ext>
            </a:extLst>
          </p:cNvPr>
          <p:cNvSpPr/>
          <p:nvPr/>
        </p:nvSpPr>
        <p:spPr>
          <a:xfrm>
            <a:off x="3021482" y="1408019"/>
            <a:ext cx="845762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EB42A4-18BE-4050-B3CB-7EBF80E677F8}"/>
              </a:ext>
            </a:extLst>
          </p:cNvPr>
          <p:cNvSpPr/>
          <p:nvPr/>
        </p:nvSpPr>
        <p:spPr>
          <a:xfrm>
            <a:off x="3867244" y="1408019"/>
            <a:ext cx="530490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2D0A935-04FE-4EA4-BE23-B48B5FAF5C27}"/>
              </a:ext>
            </a:extLst>
          </p:cNvPr>
          <p:cNvSpPr/>
          <p:nvPr/>
        </p:nvSpPr>
        <p:spPr>
          <a:xfrm>
            <a:off x="4382927" y="1408019"/>
            <a:ext cx="892011" cy="46736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Table 5">
            <a:extLst>
              <a:ext uri="{FF2B5EF4-FFF2-40B4-BE49-F238E27FC236}">
                <a16:creationId xmlns:a16="http://schemas.microsoft.com/office/drawing/2014/main" id="{A3CBD448-5F07-4EFD-A385-9923338E8B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4363146"/>
              </p:ext>
            </p:extLst>
          </p:nvPr>
        </p:nvGraphicFramePr>
        <p:xfrm>
          <a:off x="6744580" y="1749649"/>
          <a:ext cx="4762501" cy="4142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35">
                  <a:extLst>
                    <a:ext uri="{9D8B030D-6E8A-4147-A177-3AD203B41FA5}">
                      <a16:colId xmlns:a16="http://schemas.microsoft.com/office/drawing/2014/main" val="2590488816"/>
                    </a:ext>
                  </a:extLst>
                </a:gridCol>
                <a:gridCol w="2013883">
                  <a:extLst>
                    <a:ext uri="{9D8B030D-6E8A-4147-A177-3AD203B41FA5}">
                      <a16:colId xmlns:a16="http://schemas.microsoft.com/office/drawing/2014/main" val="1993742042"/>
                    </a:ext>
                  </a:extLst>
                </a:gridCol>
                <a:gridCol w="2013883">
                  <a:extLst>
                    <a:ext uri="{9D8B030D-6E8A-4147-A177-3AD203B41FA5}">
                      <a16:colId xmlns:a16="http://schemas.microsoft.com/office/drawing/2014/main" val="3373783237"/>
                    </a:ext>
                  </a:extLst>
                </a:gridCol>
              </a:tblGrid>
              <a:tr h="65009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rgbClr val="0687AA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b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b="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4343142"/>
                  </a:ext>
                </a:extLst>
              </a:tr>
              <a:tr h="1522698"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7289041"/>
                  </a:ext>
                </a:extLst>
              </a:tr>
              <a:tr h="1522698"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2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>
                          <a:solidFill>
                            <a:schemeClr val="accent1"/>
                          </a:solidFill>
                        </a:rPr>
                        <a:t>T</a:t>
                      </a:r>
                      <a:r>
                        <a:rPr lang="en-US" sz="6600" dirty="0">
                          <a:solidFill>
                            <a:schemeClr val="accent2"/>
                          </a:solidFill>
                        </a:rPr>
                        <a:t>t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600" dirty="0" err="1">
                          <a:solidFill>
                            <a:schemeClr val="accent2"/>
                          </a:solidFill>
                        </a:rPr>
                        <a:t>t</a:t>
                      </a:r>
                      <a:r>
                        <a:rPr lang="en-US" sz="6600" dirty="0" err="1">
                          <a:solidFill>
                            <a:schemeClr val="accent1"/>
                          </a:solidFill>
                        </a:rPr>
                        <a:t>t</a:t>
                      </a:r>
                      <a:endParaRPr lang="en-US" sz="6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907699"/>
                  </a:ext>
                </a:extLst>
              </a:tr>
            </a:tbl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DB9892EB-63CC-4F1B-B3DA-68E3816BB68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557524" y="3905821"/>
            <a:ext cx="1333088" cy="1041024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1BFAF1D-37A7-4B81-94FA-36F63C12583B}"/>
              </a:ext>
            </a:extLst>
          </p:cNvPr>
          <p:cNvSpPr/>
          <p:nvPr/>
        </p:nvSpPr>
        <p:spPr>
          <a:xfrm>
            <a:off x="8098256" y="1911597"/>
            <a:ext cx="2654741" cy="7454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F975461-8372-4BBC-BF82-05D6A9E67138}"/>
              </a:ext>
            </a:extLst>
          </p:cNvPr>
          <p:cNvSpPr/>
          <p:nvPr/>
        </p:nvSpPr>
        <p:spPr>
          <a:xfrm>
            <a:off x="6773967" y="3037081"/>
            <a:ext cx="687079" cy="277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5EA2C6F-D923-403E-BD55-37311A69D352}"/>
              </a:ext>
            </a:extLst>
          </p:cNvPr>
          <p:cNvSpPr/>
          <p:nvPr/>
        </p:nvSpPr>
        <p:spPr>
          <a:xfrm>
            <a:off x="9855805" y="3297644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9D0A8A9-5447-4792-BD3E-4C93BF1893D0}"/>
              </a:ext>
            </a:extLst>
          </p:cNvPr>
          <p:cNvSpPr/>
          <p:nvPr/>
        </p:nvSpPr>
        <p:spPr>
          <a:xfrm>
            <a:off x="9855805" y="4755941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A63C449-463C-45D7-9999-2DE8BE6D1195}"/>
              </a:ext>
            </a:extLst>
          </p:cNvPr>
          <p:cNvSpPr/>
          <p:nvPr/>
        </p:nvSpPr>
        <p:spPr>
          <a:xfrm>
            <a:off x="8039361" y="3216014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70DA1A8-82D0-471E-91F4-C0B334509A22}"/>
              </a:ext>
            </a:extLst>
          </p:cNvPr>
          <p:cNvSpPr/>
          <p:nvPr/>
        </p:nvSpPr>
        <p:spPr>
          <a:xfrm>
            <a:off x="7971450" y="4817491"/>
            <a:ext cx="1140458" cy="745413"/>
          </a:xfrm>
          <a:prstGeom prst="rect">
            <a:avLst/>
          </a:prstGeom>
          <a:solidFill>
            <a:srgbClr val="D9F2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6E2DF80-1A8F-43B6-A74A-606E1FDBFE7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8854987" y="1085905"/>
            <a:ext cx="1333087" cy="103893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FB812ACD-67DB-4026-95FD-4767E60FB3A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838902" y="4612180"/>
            <a:ext cx="1322725" cy="1032933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4013619-8152-4618-BF95-7C16BD9945D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817106" y="3095511"/>
            <a:ext cx="1325381" cy="103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885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xit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3" grpId="0" animBg="1"/>
      <p:bldP spid="24" grpId="0" animBg="1"/>
      <p:bldP spid="26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3737" y="3684241"/>
            <a:ext cx="2066046" cy="1696508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1160" y="1954824"/>
            <a:ext cx="2590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CRIPTION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915233" y="1278942"/>
            <a:ext cx="2057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LATION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91396" y="2209280"/>
            <a:ext cx="447850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</a:t>
            </a:r>
            <a:b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DUCTION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852147" y="2724266"/>
            <a:ext cx="2323072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taster’ protein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non-taster’ protein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3364503" y="2354934"/>
            <a:ext cx="2297424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taster’ mRNA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non-taster’ mRNA</a:t>
            </a:r>
          </a:p>
        </p:txBody>
      </p:sp>
      <p:sp>
        <p:nvSpPr>
          <p:cNvPr id="167" name="TextBox 166"/>
          <p:cNvSpPr txBox="1">
            <a:spLocks noChangeArrowheads="1"/>
          </p:cNvSpPr>
          <p:nvPr/>
        </p:nvSpPr>
        <p:spPr bwMode="auto">
          <a:xfrm>
            <a:off x="627705" y="5196618"/>
            <a:ext cx="20410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genotype  </a:t>
            </a:r>
          </a:p>
        </p:txBody>
      </p:sp>
      <p:sp>
        <p:nvSpPr>
          <p:cNvPr id="168" name="TextBox 167"/>
          <p:cNvSpPr txBox="1">
            <a:spLocks noChangeArrowheads="1"/>
          </p:cNvSpPr>
          <p:nvPr/>
        </p:nvSpPr>
        <p:spPr bwMode="auto">
          <a:xfrm>
            <a:off x="9980384" y="5380749"/>
            <a:ext cx="50850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phenotype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C5C2C3-2B66-4213-9B7A-C4D936915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icture of genotype to phenotyp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501A3C-F922-46C1-9947-771D2D6F5615}"/>
              </a:ext>
            </a:extLst>
          </p:cNvPr>
          <p:cNvGrpSpPr/>
          <p:nvPr/>
        </p:nvGrpSpPr>
        <p:grpSpPr>
          <a:xfrm rot="21227343">
            <a:off x="2885076" y="1778230"/>
            <a:ext cx="2718974" cy="430887"/>
            <a:chOff x="3457575" y="2714326"/>
            <a:chExt cx="2718974" cy="430887"/>
          </a:xfrm>
        </p:grpSpPr>
        <p:sp>
          <p:nvSpPr>
            <p:cNvPr id="13" name="TextBox 12"/>
            <p:cNvSpPr txBox="1"/>
            <p:nvPr/>
          </p:nvSpPr>
          <p:spPr>
            <a:xfrm>
              <a:off x="5174352" y="2714326"/>
              <a:ext cx="1002197" cy="430887"/>
            </a:xfrm>
            <a:prstGeom prst="rect">
              <a:avLst/>
            </a:prstGeom>
            <a:noFill/>
          </p:spPr>
          <p:txBody>
            <a:bodyPr wrap="none" tIns="91440" bIns="91440" rtlCol="0">
              <a:spAutoFit/>
            </a:bodyPr>
            <a:lstStyle/>
            <a:p>
              <a:r>
                <a:rPr lang="en-US" sz="1600" dirty="0">
                  <a:latin typeface="Helvetica" panose="020B0604020202020204" pitchFamily="34" charset="0"/>
                  <a:cs typeface="Helvetica" panose="020B0604020202020204" pitchFamily="34" charset="0"/>
                </a:rPr>
                <a:t>AAAAA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342AD9D-912F-4CFD-8F1B-017AB76EBB46}"/>
                </a:ext>
              </a:extLst>
            </p:cNvPr>
            <p:cNvSpPr/>
            <p:nvPr/>
          </p:nvSpPr>
          <p:spPr>
            <a:xfrm>
              <a:off x="3457575" y="2784529"/>
              <a:ext cx="1809750" cy="155548"/>
            </a:xfrm>
            <a:custGeom>
              <a:avLst/>
              <a:gdLst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371475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76225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0" h="155548">
                  <a:moveTo>
                    <a:pt x="1809750" y="155548"/>
                  </a:moveTo>
                  <a:cubicBezTo>
                    <a:pt x="1733550" y="99985"/>
                    <a:pt x="1657350" y="44423"/>
                    <a:pt x="1504950" y="41248"/>
                  </a:cubicBezTo>
                  <a:cubicBezTo>
                    <a:pt x="1352550" y="38073"/>
                    <a:pt x="1063625" y="141261"/>
                    <a:pt x="895350" y="136498"/>
                  </a:cubicBezTo>
                  <a:cubicBezTo>
                    <a:pt x="727075" y="131736"/>
                    <a:pt x="598487" y="33310"/>
                    <a:pt x="495300" y="12673"/>
                  </a:cubicBezTo>
                  <a:cubicBezTo>
                    <a:pt x="392113" y="-7964"/>
                    <a:pt x="336550" y="-27"/>
                    <a:pt x="276225" y="12673"/>
                  </a:cubicBezTo>
                  <a:cubicBezTo>
                    <a:pt x="215900" y="25373"/>
                    <a:pt x="179387" y="76173"/>
                    <a:pt x="133350" y="88873"/>
                  </a:cubicBezTo>
                  <a:cubicBezTo>
                    <a:pt x="87313" y="101573"/>
                    <a:pt x="49212" y="95223"/>
                    <a:pt x="0" y="88873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18" name="Arrow: Down 17">
            <a:extLst>
              <a:ext uri="{FF2B5EF4-FFF2-40B4-BE49-F238E27FC236}">
                <a16:creationId xmlns:a16="http://schemas.microsoft.com/office/drawing/2014/main" id="{3C4B11BF-BAA7-412F-819A-BB910AE06A8E}"/>
              </a:ext>
            </a:extLst>
          </p:cNvPr>
          <p:cNvSpPr/>
          <p:nvPr/>
        </p:nvSpPr>
        <p:spPr>
          <a:xfrm rot="14121099">
            <a:off x="2277545" y="2208822"/>
            <a:ext cx="485775" cy="119440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984BE72C-F209-4B45-A059-7F94D2D590B5}"/>
              </a:ext>
            </a:extLst>
          </p:cNvPr>
          <p:cNvSpPr/>
          <p:nvPr/>
        </p:nvSpPr>
        <p:spPr>
          <a:xfrm rot="16200000">
            <a:off x="6373727" y="1245211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E71049B3-8828-4C61-994A-21B8AE37CAFA}"/>
              </a:ext>
            </a:extLst>
          </p:cNvPr>
          <p:cNvSpPr/>
          <p:nvPr/>
        </p:nvSpPr>
        <p:spPr>
          <a:xfrm rot="19032221">
            <a:off x="9592663" y="2331033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A45D57C-73D1-4F2E-ABA2-3BD5E5A8D7D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0815" y="781212"/>
            <a:ext cx="2310100" cy="2310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55F38F-6705-4423-8828-1F5BBED1B2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3246711"/>
            <a:ext cx="2555288" cy="204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040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/>
      <p:bldP spid="157" grpId="0"/>
      <p:bldP spid="165" grpId="0"/>
      <p:bldP spid="18" grpId="0" animBg="1"/>
      <p:bldP spid="36" grpId="0" animBg="1"/>
      <p:bldP spid="37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E2DE38-EF77-4D14-BDEE-D5F63145A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ember genetics is messy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D4468F-6A39-4A62-9946-28E1457A95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use PTC because it is simple.</a:t>
            </a:r>
          </a:p>
          <a:p>
            <a:r>
              <a:rPr lang="en-US" dirty="0"/>
              <a:t>But even this test does not explain all the variation in PTC tasting.</a:t>
            </a:r>
          </a:p>
          <a:p>
            <a:r>
              <a:rPr lang="en-US" dirty="0"/>
              <a:t>TAS2R38 is the only known taste receptor that works this way.</a:t>
            </a:r>
          </a:p>
          <a:p>
            <a:r>
              <a:rPr lang="en-US" dirty="0"/>
              <a:t>Actually 8 different PTC tasting alleles!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5654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C33BCB-838B-4F7D-B1E6-4F1EA5AA7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70005C-DFAD-4065-8E73-ACB9A1CF6FCA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91159" y="1722331"/>
            <a:ext cx="8511771" cy="4091447"/>
          </a:xfrm>
        </p:spPr>
        <p:txBody>
          <a:bodyPr/>
          <a:lstStyle/>
          <a:p>
            <a:r>
              <a:rPr lang="en-US" dirty="0"/>
              <a:t>Companies like 23andMe will give you your PTC genotype. Is this how they test it?</a:t>
            </a:r>
          </a:p>
          <a:p>
            <a:r>
              <a:rPr lang="en-US" dirty="0"/>
              <a:t>How long does the lab take?</a:t>
            </a:r>
          </a:p>
          <a:p>
            <a:r>
              <a:rPr lang="en-US" dirty="0"/>
              <a:t>Does this relate to </a:t>
            </a:r>
            <a:r>
              <a:rPr lang="en-US" dirty="0" err="1"/>
              <a:t>supertasting</a:t>
            </a:r>
            <a:r>
              <a:rPr lang="en-US" dirty="0"/>
              <a:t>?</a:t>
            </a:r>
          </a:p>
          <a:p>
            <a:r>
              <a:rPr lang="en-US" dirty="0"/>
              <a:t>Is there any way to replicate this without PTC paper?</a:t>
            </a:r>
          </a:p>
        </p:txBody>
      </p:sp>
    </p:spTree>
    <p:extLst>
      <p:ext uri="{BB962C8B-B14F-4D97-AF65-F5344CB8AC3E}">
        <p14:creationId xmlns:p14="http://schemas.microsoft.com/office/powerpoint/2010/main" val="28028210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CEA9F9-485A-45EB-B885-BE9CA90DD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ory to advanc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E1BF0B-CD40-4EA9-B84E-31E9F1531F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1160" y="1707444"/>
            <a:ext cx="4584494" cy="4063999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Introductory</a:t>
            </a:r>
          </a:p>
          <a:p>
            <a:r>
              <a:rPr lang="en-US" dirty="0"/>
              <a:t>Genotype to phenotype</a:t>
            </a:r>
          </a:p>
          <a:p>
            <a:r>
              <a:rPr lang="en-US" dirty="0"/>
              <a:t>Predict your ability to taste using a DNA test!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A32F457A-2A0D-4A57-A0E6-5DCC7C87B733}"/>
              </a:ext>
            </a:extLst>
          </p:cNvPr>
          <p:cNvSpPr txBox="1">
            <a:spLocks/>
          </p:cNvSpPr>
          <p:nvPr/>
        </p:nvSpPr>
        <p:spPr>
          <a:xfrm>
            <a:off x="5931106" y="1707444"/>
            <a:ext cx="4584494" cy="4063999"/>
          </a:xfrm>
          <a:prstGeom prst="rect">
            <a:avLst/>
          </a:prstGeom>
        </p:spPr>
        <p:txBody>
          <a:bodyPr vert="horz" wrap="square" lIns="0" tIns="45720" rIns="91440" bIns="45720" rtlCol="0">
            <a:noAutofit/>
          </a:bodyPr>
          <a:lstStyle>
            <a:lvl1pPr marL="2286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1pPr>
            <a:lvl2pPr marL="6858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2pPr>
            <a:lvl3pPr marL="11430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3pPr>
            <a:lvl4pPr marL="16002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4pPr>
            <a:lvl5pPr marL="2057400" indent="-230400" algn="l" defTabSz="914400" rtl="0" eaLnBrk="1" latinLnBrk="0" hangingPunct="1">
              <a:lnSpc>
                <a:spcPct val="90000"/>
              </a:lnSpc>
              <a:spcBef>
                <a:spcPts val="13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2D73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Advanced</a:t>
            </a:r>
          </a:p>
          <a:p>
            <a:r>
              <a:rPr lang="en-US" dirty="0"/>
              <a:t>Connect a nucleotide change to an amino acid change to a physiological response.</a:t>
            </a:r>
          </a:p>
          <a:p>
            <a:r>
              <a:rPr lang="en-US" dirty="0"/>
              <a:t>Signal transduction lab</a:t>
            </a:r>
          </a:p>
        </p:txBody>
      </p:sp>
    </p:spTree>
    <p:extLst>
      <p:ext uri="{BB962C8B-B14F-4D97-AF65-F5344CB8AC3E}">
        <p14:creationId xmlns:p14="http://schemas.microsoft.com/office/powerpoint/2010/main" val="347610092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865FD-4C4F-472F-AF3B-9A2E98112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B11ED2-5203-44CB-98CC-96E45D545F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lculate Hardy-Weinberg for your class data.</a:t>
            </a:r>
          </a:p>
          <a:p>
            <a:endParaRPr lang="en-US" dirty="0"/>
          </a:p>
          <a:p>
            <a:r>
              <a:rPr lang="en-US" dirty="0"/>
              <a:t>Investigate population differences in relation to human evolution.</a:t>
            </a:r>
          </a:p>
          <a:p>
            <a:endParaRPr lang="en-US" dirty="0"/>
          </a:p>
          <a:p>
            <a:r>
              <a:rPr lang="en-US" dirty="0"/>
              <a:t>Genetic drift or balancing selection?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Miraculin.</a:t>
            </a:r>
          </a:p>
        </p:txBody>
      </p:sp>
    </p:spTree>
    <p:extLst>
      <p:ext uri="{BB962C8B-B14F-4D97-AF65-F5344CB8AC3E}">
        <p14:creationId xmlns:p14="http://schemas.microsoft.com/office/powerpoint/2010/main" val="30474069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iniPCR bio Template PPT 080719_Apertura copia copy 19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7" y="0"/>
            <a:ext cx="12187263" cy="68580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iniPCR</a:t>
            </a:r>
            <a:r>
              <a:rPr lang="en-US" dirty="0"/>
              <a:t> Learning Labs</a:t>
            </a:r>
          </a:p>
        </p:txBody>
      </p:sp>
    </p:spTree>
    <p:extLst>
      <p:ext uri="{BB962C8B-B14F-4D97-AF65-F5344CB8AC3E}">
        <p14:creationId xmlns:p14="http://schemas.microsoft.com/office/powerpoint/2010/main" val="40629796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  <a:p>
            <a:r>
              <a:rPr lang="en-US" dirty="0"/>
              <a:t>@</a:t>
            </a:r>
            <a:r>
              <a:rPr lang="en-US" dirty="0" err="1"/>
              <a:t>BisforBru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b.com/</a:t>
            </a:r>
            <a:r>
              <a:rPr lang="en-US" dirty="0" err="1"/>
              <a:t>minPCR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091756" y="5892800"/>
            <a:ext cx="2459037" cy="431800"/>
          </a:xfrm>
        </p:spPr>
        <p:txBody>
          <a:bodyPr/>
          <a:lstStyle/>
          <a:p>
            <a:r>
              <a:rPr lang="en-US" dirty="0"/>
              <a:t>@</a:t>
            </a:r>
            <a:r>
              <a:rPr lang="en-US" dirty="0" err="1"/>
              <a:t>miniPCR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257176-95BC-CF42-B968-C43A3A0F3AB7}"/>
              </a:ext>
            </a:extLst>
          </p:cNvPr>
          <p:cNvSpPr txBox="1"/>
          <p:nvPr/>
        </p:nvSpPr>
        <p:spPr>
          <a:xfrm>
            <a:off x="7147278" y="6403833"/>
            <a:ext cx="45861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1200" b="0" i="0" dirty="0">
                <a:solidFill>
                  <a:srgbClr val="002D73"/>
                </a:solidFill>
                <a:latin typeface="Helvetica"/>
                <a:cs typeface="Helvetica"/>
              </a:rPr>
              <a:t>© 2019 by Amplyus LLC</a:t>
            </a:r>
            <a:endParaRPr lang="en-US" sz="1200" b="0" i="0" dirty="0">
              <a:solidFill>
                <a:srgbClr val="002D73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4848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3DA95-ED22-4579-A1ED-5F6493BEA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te receptio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2A5646C7-2225-43BE-B803-32C8E7231A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60" y="1809249"/>
            <a:ext cx="5272303" cy="3517615"/>
          </a:xfr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2A02F49A-A8B6-484C-83F6-D8D65A50E347}"/>
              </a:ext>
            </a:extLst>
          </p:cNvPr>
          <p:cNvGrpSpPr/>
          <p:nvPr/>
        </p:nvGrpSpPr>
        <p:grpSpPr>
          <a:xfrm>
            <a:off x="2707769" y="1502557"/>
            <a:ext cx="6647911" cy="3852883"/>
            <a:chOff x="2707769" y="1502557"/>
            <a:chExt cx="6647911" cy="3852883"/>
          </a:xfrm>
        </p:grpSpPr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773F197F-93C8-4A82-A768-2C5029522B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9650" y="1502558"/>
              <a:ext cx="3266030" cy="385288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A3C3933-2EDA-44B0-A377-1E815307A486}"/>
                </a:ext>
              </a:extLst>
            </p:cNvPr>
            <p:cNvSpPr/>
            <p:nvPr/>
          </p:nvSpPr>
          <p:spPr>
            <a:xfrm>
              <a:off x="2707769" y="3428999"/>
              <a:ext cx="94803" cy="111838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0C2F7A0-F9F4-423B-AADC-DD0CAAE861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07769" y="1502557"/>
              <a:ext cx="3381881" cy="192644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7E94FF5-060B-410E-854C-A1E5415B5E8D}"/>
                </a:ext>
              </a:extLst>
            </p:cNvPr>
            <p:cNvCxnSpPr>
              <a:cxnSpLocks/>
            </p:cNvCxnSpPr>
            <p:nvPr/>
          </p:nvCxnSpPr>
          <p:spPr>
            <a:xfrm>
              <a:off x="2707769" y="3540837"/>
              <a:ext cx="3388231" cy="18146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1885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Picture 16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73737" y="3684241"/>
            <a:ext cx="2066046" cy="1696508"/>
          </a:xfrm>
          <a:prstGeom prst="rect">
            <a:avLst/>
          </a:prstGeom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1160" y="1954824"/>
            <a:ext cx="2590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CRIPTION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915233" y="1278942"/>
            <a:ext cx="2057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en-US" altLang="en-US" sz="20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LATION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91396" y="2209280"/>
            <a:ext cx="447850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GNAL</a:t>
            </a:r>
            <a:b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</a:br>
            <a:r>
              <a:rPr lang="en-US" altLang="en-US" sz="1800" dirty="0">
                <a:solidFill>
                  <a:srgbClr val="31859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NSDUCTION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852147" y="2724266"/>
            <a:ext cx="2323072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taster’ protein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non-taster’ protein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3364503" y="2354934"/>
            <a:ext cx="2297424" cy="738664"/>
          </a:xfrm>
          <a:prstGeom prst="rect">
            <a:avLst/>
          </a:prstGeom>
          <a:noFill/>
        </p:spPr>
        <p:txBody>
          <a:bodyPr wrap="none" tIns="91440" bIns="91440" rtlCol="0">
            <a:spAutoFit/>
          </a:bodyPr>
          <a:lstStyle/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taster’ mRNA</a:t>
            </a:r>
          </a:p>
          <a:p>
            <a:pPr marL="225425" indent="-2254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‘non-taster’ mRNA</a:t>
            </a:r>
          </a:p>
        </p:txBody>
      </p:sp>
      <p:sp>
        <p:nvSpPr>
          <p:cNvPr id="167" name="TextBox 166"/>
          <p:cNvSpPr txBox="1">
            <a:spLocks noChangeArrowheads="1"/>
          </p:cNvSpPr>
          <p:nvPr/>
        </p:nvSpPr>
        <p:spPr bwMode="auto">
          <a:xfrm>
            <a:off x="627705" y="5196618"/>
            <a:ext cx="204102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genotype  </a:t>
            </a:r>
          </a:p>
        </p:txBody>
      </p:sp>
      <p:sp>
        <p:nvSpPr>
          <p:cNvPr id="168" name="TextBox 167"/>
          <p:cNvSpPr txBox="1">
            <a:spLocks noChangeArrowheads="1"/>
          </p:cNvSpPr>
          <p:nvPr/>
        </p:nvSpPr>
        <p:spPr bwMode="auto">
          <a:xfrm>
            <a:off x="9980384" y="5380749"/>
            <a:ext cx="508501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2800" b="1" dirty="0">
                <a:solidFill>
                  <a:schemeClr val="tx2"/>
                </a:solidFill>
                <a:latin typeface="Helvetica" pitchFamily="34" charset="0"/>
                <a:cs typeface="Arial" panose="020B0604020202020204" pitchFamily="34" charset="0"/>
              </a:rPr>
              <a:t>phenotype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C5C2C3-2B66-4213-9B7A-C4D936915C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icture of genotype to phenotyp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501A3C-F922-46C1-9947-771D2D6F5615}"/>
              </a:ext>
            </a:extLst>
          </p:cNvPr>
          <p:cNvGrpSpPr/>
          <p:nvPr/>
        </p:nvGrpSpPr>
        <p:grpSpPr>
          <a:xfrm rot="21227343">
            <a:off x="2885076" y="1778230"/>
            <a:ext cx="2718974" cy="430887"/>
            <a:chOff x="3457575" y="2714326"/>
            <a:chExt cx="2718974" cy="430887"/>
          </a:xfrm>
        </p:grpSpPr>
        <p:sp>
          <p:nvSpPr>
            <p:cNvPr id="13" name="TextBox 12"/>
            <p:cNvSpPr txBox="1"/>
            <p:nvPr/>
          </p:nvSpPr>
          <p:spPr>
            <a:xfrm>
              <a:off x="5174352" y="2714326"/>
              <a:ext cx="1002197" cy="430887"/>
            </a:xfrm>
            <a:prstGeom prst="rect">
              <a:avLst/>
            </a:prstGeom>
            <a:noFill/>
          </p:spPr>
          <p:txBody>
            <a:bodyPr wrap="none" tIns="91440" bIns="91440" rtlCol="0">
              <a:spAutoFit/>
            </a:bodyPr>
            <a:lstStyle/>
            <a:p>
              <a:r>
                <a:rPr lang="en-US" sz="1600" dirty="0">
                  <a:latin typeface="Helvetica" panose="020B0604020202020204" pitchFamily="34" charset="0"/>
                  <a:cs typeface="Helvetica" panose="020B0604020202020204" pitchFamily="34" charset="0"/>
                </a:rPr>
                <a:t>AAAAAA</a:t>
              </a: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342AD9D-912F-4CFD-8F1B-017AB76EBB46}"/>
                </a:ext>
              </a:extLst>
            </p:cNvPr>
            <p:cNvSpPr/>
            <p:nvPr/>
          </p:nvSpPr>
          <p:spPr>
            <a:xfrm>
              <a:off x="3457575" y="2784529"/>
              <a:ext cx="1809750" cy="155548"/>
            </a:xfrm>
            <a:custGeom>
              <a:avLst/>
              <a:gdLst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371475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09550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  <a:gd name="connsiteX0" fmla="*/ 1809750 w 1809750"/>
                <a:gd name="connsiteY0" fmla="*/ 155548 h 155548"/>
                <a:gd name="connsiteX1" fmla="*/ 1504950 w 1809750"/>
                <a:gd name="connsiteY1" fmla="*/ 41248 h 155548"/>
                <a:gd name="connsiteX2" fmla="*/ 895350 w 1809750"/>
                <a:gd name="connsiteY2" fmla="*/ 136498 h 155548"/>
                <a:gd name="connsiteX3" fmla="*/ 495300 w 1809750"/>
                <a:gd name="connsiteY3" fmla="*/ 12673 h 155548"/>
                <a:gd name="connsiteX4" fmla="*/ 276225 w 1809750"/>
                <a:gd name="connsiteY4" fmla="*/ 12673 h 155548"/>
                <a:gd name="connsiteX5" fmla="*/ 133350 w 1809750"/>
                <a:gd name="connsiteY5" fmla="*/ 88873 h 155548"/>
                <a:gd name="connsiteX6" fmla="*/ 0 w 1809750"/>
                <a:gd name="connsiteY6" fmla="*/ 88873 h 155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50" h="155548">
                  <a:moveTo>
                    <a:pt x="1809750" y="155548"/>
                  </a:moveTo>
                  <a:cubicBezTo>
                    <a:pt x="1733550" y="99985"/>
                    <a:pt x="1657350" y="44423"/>
                    <a:pt x="1504950" y="41248"/>
                  </a:cubicBezTo>
                  <a:cubicBezTo>
                    <a:pt x="1352550" y="38073"/>
                    <a:pt x="1063625" y="141261"/>
                    <a:pt x="895350" y="136498"/>
                  </a:cubicBezTo>
                  <a:cubicBezTo>
                    <a:pt x="727075" y="131736"/>
                    <a:pt x="598487" y="33310"/>
                    <a:pt x="495300" y="12673"/>
                  </a:cubicBezTo>
                  <a:cubicBezTo>
                    <a:pt x="392113" y="-7964"/>
                    <a:pt x="336550" y="-27"/>
                    <a:pt x="276225" y="12673"/>
                  </a:cubicBezTo>
                  <a:cubicBezTo>
                    <a:pt x="215900" y="25373"/>
                    <a:pt x="179387" y="76173"/>
                    <a:pt x="133350" y="88873"/>
                  </a:cubicBezTo>
                  <a:cubicBezTo>
                    <a:pt x="87313" y="101573"/>
                    <a:pt x="49212" y="95223"/>
                    <a:pt x="0" y="88873"/>
                  </a:cubicBez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3"/>
                </a:solidFill>
              </a:endParaRPr>
            </a:p>
          </p:txBody>
        </p:sp>
      </p:grpSp>
      <p:sp>
        <p:nvSpPr>
          <p:cNvPr id="18" name="Arrow: Down 17">
            <a:extLst>
              <a:ext uri="{FF2B5EF4-FFF2-40B4-BE49-F238E27FC236}">
                <a16:creationId xmlns:a16="http://schemas.microsoft.com/office/drawing/2014/main" id="{3C4B11BF-BAA7-412F-819A-BB910AE06A8E}"/>
              </a:ext>
            </a:extLst>
          </p:cNvPr>
          <p:cNvSpPr/>
          <p:nvPr/>
        </p:nvSpPr>
        <p:spPr>
          <a:xfrm rot="14121099">
            <a:off x="2277545" y="2208822"/>
            <a:ext cx="485775" cy="1194409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984BE72C-F209-4B45-A059-7F94D2D590B5}"/>
              </a:ext>
            </a:extLst>
          </p:cNvPr>
          <p:cNvSpPr/>
          <p:nvPr/>
        </p:nvSpPr>
        <p:spPr>
          <a:xfrm rot="16200000">
            <a:off x="6373727" y="1245211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Down 36">
            <a:extLst>
              <a:ext uri="{FF2B5EF4-FFF2-40B4-BE49-F238E27FC236}">
                <a16:creationId xmlns:a16="http://schemas.microsoft.com/office/drawing/2014/main" id="{E71049B3-8828-4C61-994A-21B8AE37CAFA}"/>
              </a:ext>
            </a:extLst>
          </p:cNvPr>
          <p:cNvSpPr/>
          <p:nvPr/>
        </p:nvSpPr>
        <p:spPr>
          <a:xfrm rot="19032221">
            <a:off x="9592663" y="2331033"/>
            <a:ext cx="485775" cy="14192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9A45D57C-73D1-4F2E-ABA2-3BD5E5A8D7D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0815" y="781212"/>
            <a:ext cx="2310100" cy="23101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55F38F-6705-4423-8828-1F5BBED1B2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160" y="3246711"/>
            <a:ext cx="2555288" cy="204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855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/>
      <p:bldP spid="157" grpId="0"/>
      <p:bldP spid="165" grpId="0"/>
      <p:bldP spid="18" grpId="0" animBg="1"/>
      <p:bldP spid="36" grpId="0" animBg="1"/>
      <p:bldP spid="3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194C441-1AD0-5F4A-AEA7-22A48F1983DC}"/>
              </a:ext>
            </a:extLst>
          </p:cNvPr>
          <p:cNvSpPr/>
          <p:nvPr/>
        </p:nvSpPr>
        <p:spPr bwMode="auto">
          <a:xfrm>
            <a:off x="6028381" y="3066920"/>
            <a:ext cx="1819658" cy="18288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6" name="AutoShape 22">
            <a:extLst>
              <a:ext uri="{FF2B5EF4-FFF2-40B4-BE49-F238E27FC236}">
                <a16:creationId xmlns:a16="http://schemas.microsoft.com/office/drawing/2014/main" id="{AF444CC5-151F-8E48-8A22-C7546F13451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3301" y="1932955"/>
            <a:ext cx="2377440" cy="786098"/>
          </a:xfrm>
          <a:prstGeom prst="homePlate">
            <a:avLst>
              <a:gd name="adj" fmla="val 29660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NA extraction</a:t>
            </a:r>
          </a:p>
        </p:txBody>
      </p:sp>
      <p:sp>
        <p:nvSpPr>
          <p:cNvPr id="7" name="AutoShape 23">
            <a:extLst>
              <a:ext uri="{FF2B5EF4-FFF2-40B4-BE49-F238E27FC236}">
                <a16:creationId xmlns:a16="http://schemas.microsoft.com/office/drawing/2014/main" id="{E82E4D85-6F72-EF4D-BA3D-E42854CC2A8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763063" y="1924047"/>
            <a:ext cx="2377440" cy="786098"/>
          </a:xfrm>
          <a:prstGeom prst="chevron">
            <a:avLst>
              <a:gd name="adj" fmla="val 30002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l electrophoresis</a:t>
            </a:r>
          </a:p>
        </p:txBody>
      </p:sp>
      <p:sp>
        <p:nvSpPr>
          <p:cNvPr id="8" name="AutoShape 25">
            <a:extLst>
              <a:ext uri="{FF2B5EF4-FFF2-40B4-BE49-F238E27FC236}">
                <a16:creationId xmlns:a16="http://schemas.microsoft.com/office/drawing/2014/main" id="{DC68542B-72EF-E04D-A795-29D2C221BE9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0971" y="1932955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CR</a:t>
            </a:r>
          </a:p>
        </p:txBody>
      </p:sp>
      <p:sp>
        <p:nvSpPr>
          <p:cNvPr id="9" name="AutoShape 32">
            <a:extLst>
              <a:ext uri="{FF2B5EF4-FFF2-40B4-BE49-F238E27FC236}">
                <a16:creationId xmlns:a16="http://schemas.microsoft.com/office/drawing/2014/main" id="{96D02BF5-2502-0947-9439-E5E73E581CFB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52017" y="1924047"/>
            <a:ext cx="2377440" cy="786098"/>
          </a:xfrm>
          <a:prstGeom prst="chevron">
            <a:avLst>
              <a:gd name="adj" fmla="val 29974"/>
            </a:avLst>
          </a:prstGeom>
          <a:solidFill>
            <a:schemeClr val="tx2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rIns="0" bIns="9144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striction digest</a:t>
            </a:r>
          </a:p>
        </p:txBody>
      </p:sp>
      <p:pic>
        <p:nvPicPr>
          <p:cNvPr id="11" name="Picture 2" descr="http://2.bp.blogspot.com/-mNnncu9m5C0/UxNJXZ-JyzI/AAAAAAAABik/OaLTS8YDLNQ/s1600/restrictionEnzymes.gif">
            <a:extLst>
              <a:ext uri="{FF2B5EF4-FFF2-40B4-BE49-F238E27FC236}">
                <a16:creationId xmlns:a16="http://schemas.microsoft.com/office/drawing/2014/main" id="{E94521D9-30D7-F64A-8FD3-A9E45783CD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441"/>
          <a:stretch/>
        </p:blipFill>
        <p:spPr bwMode="auto">
          <a:xfrm>
            <a:off x="6245924" y="2842401"/>
            <a:ext cx="1102618" cy="10394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://upload.wikimedia.org/wikipedia/commons/thumb/7/78/EcoRI_restriction_enzyme_recognition_site.svg/800px-EcoRI_restriction_enzyme_recognition_site.svg.png">
            <a:extLst>
              <a:ext uri="{FF2B5EF4-FFF2-40B4-BE49-F238E27FC236}">
                <a16:creationId xmlns:a16="http://schemas.microsoft.com/office/drawing/2014/main" id="{036BD553-5DCC-0A4D-9F38-43826D751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8094" y="3856062"/>
            <a:ext cx="1523078" cy="60923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55A624-2E3F-994F-81E1-8411547BD187}"/>
              </a:ext>
            </a:extLst>
          </p:cNvPr>
          <p:cNvCxnSpPr/>
          <p:nvPr/>
        </p:nvCxnSpPr>
        <p:spPr bwMode="auto">
          <a:xfrm>
            <a:off x="1707502" y="4907167"/>
            <a:ext cx="3944515" cy="3079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0B4FCF-3611-0F48-B1F8-F8949442A6DD}"/>
              </a:ext>
            </a:extLst>
          </p:cNvPr>
          <p:cNvCxnSpPr/>
          <p:nvPr/>
        </p:nvCxnSpPr>
        <p:spPr bwMode="auto">
          <a:xfrm flipV="1">
            <a:off x="5982610" y="4910246"/>
            <a:ext cx="4023534" cy="3273"/>
          </a:xfrm>
          <a:prstGeom prst="line">
            <a:avLst/>
          </a:prstGeom>
          <a:solidFill>
            <a:srgbClr val="E2E2E2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4E57B1F-151E-024A-A405-E0AEA35E94F4}"/>
              </a:ext>
            </a:extLst>
          </p:cNvPr>
          <p:cNvSpPr txBox="1">
            <a:spLocks/>
          </p:cNvSpPr>
          <p:nvPr/>
        </p:nvSpPr>
        <p:spPr bwMode="gray">
          <a:xfrm>
            <a:off x="2464518" y="4680164"/>
            <a:ext cx="240181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First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F66D3DA-0C11-B340-990C-439CE2B60767}"/>
              </a:ext>
            </a:extLst>
          </p:cNvPr>
          <p:cNvSpPr txBox="1">
            <a:spLocks/>
          </p:cNvSpPr>
          <p:nvPr/>
        </p:nvSpPr>
        <p:spPr bwMode="gray">
          <a:xfrm>
            <a:off x="6679291" y="4732885"/>
            <a:ext cx="2630172" cy="10183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2857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57150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857250" indent="-17145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 algn="ctr" defTabSz="914400"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en-US" altLang="en-US" sz="1800" kern="0" dirty="0">
              <a:solidFill>
                <a:schemeClr val="tx2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algn="ctr" defTabSz="914400">
              <a:buClr>
                <a:srgbClr val="808080"/>
              </a:buClr>
            </a:pPr>
            <a:r>
              <a:rPr lang="en-US" altLang="en-US" sz="1800" b="0" kern="0" dirty="0">
                <a:solidFill>
                  <a:schemeClr val="tx2"/>
                </a:solidFill>
                <a:latin typeface="Helvetica" panose="020B0604020202020204" pitchFamily="34" charset="0"/>
                <a:ea typeface="ＭＳ Ｐゴシック" panose="020B0600070205080204" pitchFamily="34" charset="-128"/>
                <a:cs typeface="Helvetica" panose="020B0604020202020204" pitchFamily="34" charset="0"/>
              </a:rPr>
              <a:t>Second class (45 min) </a:t>
            </a:r>
            <a:r>
              <a:rPr lang="en-US" altLang="en-US" sz="1800" kern="0" dirty="0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												</a:t>
            </a:r>
          </a:p>
        </p:txBody>
      </p:sp>
      <p:pic>
        <p:nvPicPr>
          <p:cNvPr id="21" name="Picture 2" descr="http://supratechdna.com/images/stap-5.jpg">
            <a:extLst>
              <a:ext uri="{FF2B5EF4-FFF2-40B4-BE49-F238E27FC236}">
                <a16:creationId xmlns:a16="http://schemas.microsoft.com/office/drawing/2014/main" id="{6626F7EF-E24B-4640-9BD1-E6C9224B4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48" y="3107802"/>
            <a:ext cx="1428750" cy="13525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4B0D1CE4-B225-4452-990D-D421DD9B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400" dirty="0"/>
              <a:t>From phenotype to genotype in two class periods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D5812CBB-F29D-4ACF-A21D-E2EFC0666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5464" y="2930955"/>
            <a:ext cx="2326608" cy="1551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A9B653CA-D2E2-401B-8EEE-780736095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5307" y="2839322"/>
            <a:ext cx="2563300" cy="1708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382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A422D3F-A3CC-46FC-BD82-E0CEC1A47591}"/>
              </a:ext>
            </a:extLst>
          </p:cNvPr>
          <p:cNvCxnSpPr/>
          <p:nvPr/>
        </p:nvCxnSpPr>
        <p:spPr>
          <a:xfrm>
            <a:off x="6428198" y="2609633"/>
            <a:ext cx="1606193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01A41AC2-B1F4-40AD-83EF-D14AB641FC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5322" y="1341559"/>
            <a:ext cx="5054134" cy="505413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4384695" y="662567"/>
            <a:ext cx="1323728" cy="78230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kern="0" dirty="0">
              <a:solidFill>
                <a:srgbClr val="FFFFFF"/>
              </a:solidFill>
              <a:latin typeface="Arial" charset="0"/>
              <a:cs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BA952E-9E66-4801-8F9D-FFDB36EA0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2R38 taste recept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228F37-B6CC-4580-9BA8-1D8CB9B79A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0826" y="1698273"/>
            <a:ext cx="4584683" cy="406399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Bitter taste recepto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art of the T2R family of taste recepto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Like other sweet and bitter taste receptors it is a            G-protein coupled receptor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6A174B-A54F-40A3-B708-865263D246A8}"/>
              </a:ext>
            </a:extLst>
          </p:cNvPr>
          <p:cNvSpPr/>
          <p:nvPr/>
        </p:nvSpPr>
        <p:spPr>
          <a:xfrm>
            <a:off x="5914490" y="5749482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Model made using Swiss-Model</a:t>
            </a:r>
          </a:p>
          <a:p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Waterhouse, A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ertoni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M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ienert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S., Studer, G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Tauriello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G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Gumienny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R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Heer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F.T., de Beer, T.A.P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Rempfer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C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Bordoli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L., Lepore, R., </a:t>
            </a:r>
            <a:r>
              <a:rPr lang="en-US" sz="800" dirty="0" err="1">
                <a:latin typeface="Helvetica" panose="020B0604020202020204" pitchFamily="34" charset="0"/>
                <a:cs typeface="Helvetica" panose="020B0604020202020204" pitchFamily="34" charset="0"/>
              </a:rPr>
              <a:t>Schwede</a:t>
            </a:r>
            <a:r>
              <a:rPr lang="en-US" sz="800" dirty="0">
                <a:latin typeface="Helvetica" panose="020B0604020202020204" pitchFamily="34" charset="0"/>
                <a:cs typeface="Helvetica" panose="020B0604020202020204" pitchFamily="34" charset="0"/>
              </a:rPr>
              <a:t>, T. SWISS-MODEL: homology modelling of protein structures and complexes. Nucleic Acids Res. 46, W296-W303 (2018)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1C1E86A-A361-4D55-85B6-259AE067BD88}"/>
              </a:ext>
            </a:extLst>
          </p:cNvPr>
          <p:cNvCxnSpPr>
            <a:cxnSpLocks/>
          </p:cNvCxnSpPr>
          <p:nvPr/>
        </p:nvCxnSpPr>
        <p:spPr>
          <a:xfrm>
            <a:off x="10212988" y="2619907"/>
            <a:ext cx="153646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0916179-853C-437A-B352-630D59C6C5AD}"/>
              </a:ext>
            </a:extLst>
          </p:cNvPr>
          <p:cNvCxnSpPr>
            <a:cxnSpLocks/>
          </p:cNvCxnSpPr>
          <p:nvPr/>
        </p:nvCxnSpPr>
        <p:spPr>
          <a:xfrm>
            <a:off x="6417924" y="3964113"/>
            <a:ext cx="178085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DEA0A8-FED4-4EB3-8CAD-4F9F9F02A3EF}"/>
              </a:ext>
            </a:extLst>
          </p:cNvPr>
          <p:cNvCxnSpPr>
            <a:cxnSpLocks/>
          </p:cNvCxnSpPr>
          <p:nvPr/>
        </p:nvCxnSpPr>
        <p:spPr>
          <a:xfrm>
            <a:off x="9894013" y="3964113"/>
            <a:ext cx="1845169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B5AE69-FA76-46C2-B2B1-8F4F8334405B}"/>
              </a:ext>
            </a:extLst>
          </p:cNvPr>
          <p:cNvSpPr txBox="1"/>
          <p:nvPr/>
        </p:nvSpPr>
        <p:spPr>
          <a:xfrm>
            <a:off x="5648960" y="2175999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tside of cel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04A03F6-FE41-4740-B1E6-4813B07EAAFF}"/>
              </a:ext>
            </a:extLst>
          </p:cNvPr>
          <p:cNvSpPr txBox="1"/>
          <p:nvPr/>
        </p:nvSpPr>
        <p:spPr>
          <a:xfrm>
            <a:off x="5648960" y="3117596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ell membran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7BB64D6-CEBE-4834-8863-011D9DF04AA7}"/>
              </a:ext>
            </a:extLst>
          </p:cNvPr>
          <p:cNvSpPr txBox="1"/>
          <p:nvPr/>
        </p:nvSpPr>
        <p:spPr>
          <a:xfrm>
            <a:off x="5648960" y="4074018"/>
            <a:ext cx="173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side of cell</a:t>
            </a:r>
          </a:p>
        </p:txBody>
      </p:sp>
    </p:spTree>
    <p:extLst>
      <p:ext uri="{BB962C8B-B14F-4D97-AF65-F5344CB8AC3E}">
        <p14:creationId xmlns:p14="http://schemas.microsoft.com/office/powerpoint/2010/main" val="36907266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itter taste signal transduction</a:t>
            </a:r>
            <a:br>
              <a:rPr lang="en-US" dirty="0"/>
            </a:br>
            <a:endParaRPr lang="en-US" dirty="0"/>
          </a:p>
        </p:txBody>
      </p:sp>
      <p:pic>
        <p:nvPicPr>
          <p:cNvPr id="3074" name="Picture 2" descr="https://upload.wikimedia.org/wikipedia/commons/thumb/4/4d/Signal_Transaction_of_Taste%3B_Bitter.svg/512px-Signal_Transaction_of_Taste%3B_Bitter.sv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7344" y="1556359"/>
            <a:ext cx="4876800" cy="462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6614156" y="1270753"/>
            <a:ext cx="482003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. Reception of a molecule.</a:t>
            </a:r>
          </a:p>
          <a:p>
            <a:pPr marL="800100" lvl="1" indent="-342900">
              <a:buAutoNum type="arabicPeriod"/>
            </a:pP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itter chemical binds to G Protein-coupled receptors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. Transduction pathway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.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ustducin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a second messenger, i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. Phosphodiesterase, an enzyme, is then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. Cyclic nucleotide, </a:t>
            </a:r>
            <a:r>
              <a:rPr lang="en-US" dirty="0" err="1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NMP</a:t>
            </a:r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, is used, lowering the concentration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. Channels such as the K+, potassium, channels, close.</a:t>
            </a:r>
          </a:p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II. Response of the taste cell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6. Increased levels of Ca+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. Neurotransmitters activated. </a:t>
            </a:r>
          </a:p>
          <a:p>
            <a:pPr lvl="1"/>
            <a:r>
              <a:rPr lang="en-US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8. Signal is sent to the neuron.</a:t>
            </a:r>
            <a:endParaRPr lang="en-US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775828" y="1310711"/>
            <a:ext cx="1257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bud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214228" y="1310711"/>
            <a:ext cx="1219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333333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aste cell</a:t>
            </a:r>
            <a:endParaRPr lang="en-US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810000" y="6273817"/>
            <a:ext cx="53019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3" tooltip="User:Hldavis4 (page does not exist)"/>
              </a:rPr>
              <a:t>Hldavis4</a:t>
            </a:r>
            <a:r>
              <a:rPr lang="en-US" sz="1100" dirty="0">
                <a:solidFill>
                  <a:srgbClr val="555555"/>
                </a:solidFill>
                <a:latin typeface="Arial" panose="020B0604020202020204" pitchFamily="34" charset="0"/>
              </a:rPr>
              <a:t>  &amp; 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Template:Purves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, Dale. Taste Receptors and the Transduction of Taste Signals. U.S. National Library of Medicine, </a:t>
            </a:r>
            <a:r>
              <a:rPr lang="en-US" sz="1100" dirty="0" err="1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n.d.</a:t>
            </a:r>
            <a:r>
              <a:rPr lang="en-US" sz="1100" dirty="0">
                <a:solidFill>
                  <a:srgbClr val="A55858"/>
                </a:solidFill>
                <a:latin typeface="Arial" panose="020B0604020202020204" pitchFamily="34" charset="0"/>
                <a:hlinkClick r:id="rId4" tooltip="Template:Purves, Dale. Taste Receptors and the Transduction of Taste Signals. U.S. National Library of Medicine, n.d. Web. May-June 2015. (page does not exist)"/>
              </a:rPr>
              <a:t> Web. May-June 2015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08372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uLEVdIkyYQVP7477n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Vx4OAwsE.HLJeVKCg8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YaLdL_rESFE87pIcTy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uLEVdIkyYQVP7477n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Vx4OAwsE.HLJeVKCg8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sKhLFP1E61iX7M9jCr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YaLdL_rESFE87pIcTyrQ"/>
</p:tagLst>
</file>

<file path=ppt/theme/theme1.xml><?xml version="1.0" encoding="utf-8"?>
<a:theme xmlns:a="http://schemas.openxmlformats.org/drawingml/2006/main" name="Office Theme">
  <a:themeElements>
    <a:clrScheme name="MiniPCR">
      <a:dk1>
        <a:sysClr val="windowText" lastClr="000000"/>
      </a:dk1>
      <a:lt1>
        <a:sysClr val="window" lastClr="FFFFFF"/>
      </a:lt1>
      <a:dk2>
        <a:srgbClr val="002D73"/>
      </a:dk2>
      <a:lt2>
        <a:srgbClr val="A1DEE9"/>
      </a:lt2>
      <a:accent1>
        <a:srgbClr val="00B9E4"/>
      </a:accent1>
      <a:accent2>
        <a:srgbClr val="002D73"/>
      </a:accent2>
      <a:accent3>
        <a:srgbClr val="D0103A"/>
      </a:accent3>
      <a:accent4>
        <a:srgbClr val="A1DEE9"/>
      </a:accent4>
      <a:accent5>
        <a:srgbClr val="FFFFFF"/>
      </a:accent5>
      <a:accent6>
        <a:srgbClr val="FFFFFF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7AE5533D-C892-463E-B137-4659525EF171}" vid="{945B3A84-E2C2-4E23-B58A-7A970085C44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3A298A1E-A213-4923-AFF4-6FE8A625AA01}"/>
    </a:ext>
  </a:extLst>
</a:theme>
</file>

<file path=ppt/theme/theme3.xml><?xml version="1.0" encoding="utf-8"?>
<a:theme xmlns:a="http://schemas.openxmlformats.org/drawingml/2006/main" name="Cover 0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4465873B-2946-48B8-AFF7-4716FE7584BA}"/>
    </a:ext>
  </a:extLst>
</a:theme>
</file>

<file path=ppt/theme/theme4.xml><?xml version="1.0" encoding="utf-8"?>
<a:theme xmlns:a="http://schemas.openxmlformats.org/drawingml/2006/main" name="Cover 0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7AE5533D-C892-463E-B137-4659525EF171}" vid="{EE2CD848-E514-40BE-BEAA-C0B0F5AD268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824A62435C14A4286DB020D2DE62476" ma:contentTypeVersion="16" ma:contentTypeDescription="Opret et nyt dokument." ma:contentTypeScope="" ma:versionID="2fa0c7cfe91f3d13e6c1052dfd556499">
  <xsd:schema xmlns:xsd="http://www.w3.org/2001/XMLSchema" xmlns:xs="http://www.w3.org/2001/XMLSchema" xmlns:p="http://schemas.microsoft.com/office/2006/metadata/properties" xmlns:ns2="c9556b18-80b3-495f-bf06-e7a3be1966d2" xmlns:ns3="a182a518-1075-4414-b33f-9ae5c587f5b3" targetNamespace="http://schemas.microsoft.com/office/2006/metadata/properties" ma:root="true" ma:fieldsID="a30b27ea4733757b1be6a7d8bb802f31" ns2:_="" ns3:_="">
    <xsd:import namespace="c9556b18-80b3-495f-bf06-e7a3be1966d2"/>
    <xsd:import namespace="a182a518-1075-4414-b33f-9ae5c587f5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556b18-80b3-495f-bf06-e7a3be1966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ledmærker" ma:readOnly="false" ma:fieldId="{5cf76f15-5ced-4ddc-b409-7134ff3c332f}" ma:taxonomyMulti="true" ma:sspId="58568548-9f5a-4e35-9c17-968ba1d5fe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82a518-1075-4414-b33f-9ae5c587f5b3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b5b5a254-60cb-4216-8964-bd87b223acca}" ma:internalName="TaxCatchAll" ma:showField="CatchAllData" ma:web="a182a518-1075-4414-b33f-9ae5c587f5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9556b18-80b3-495f-bf06-e7a3be1966d2">
      <Terms xmlns="http://schemas.microsoft.com/office/infopath/2007/PartnerControls"/>
    </lcf76f155ced4ddcb4097134ff3c332f>
    <TaxCatchAll xmlns="a182a518-1075-4414-b33f-9ae5c587f5b3" xsi:nil="true"/>
  </documentManagement>
</p:properties>
</file>

<file path=customXml/itemProps1.xml><?xml version="1.0" encoding="utf-8"?>
<ds:datastoreItem xmlns:ds="http://schemas.openxmlformats.org/officeDocument/2006/customXml" ds:itemID="{2604FE31-1A7F-4C56-9B1E-29D8B675E471}"/>
</file>

<file path=customXml/itemProps2.xml><?xml version="1.0" encoding="utf-8"?>
<ds:datastoreItem xmlns:ds="http://schemas.openxmlformats.org/officeDocument/2006/customXml" ds:itemID="{D10665CC-DEBE-4B6E-BACC-C76224B4F621}"/>
</file>

<file path=customXml/itemProps3.xml><?xml version="1.0" encoding="utf-8"?>
<ds:datastoreItem xmlns:ds="http://schemas.openxmlformats.org/officeDocument/2006/customXml" ds:itemID="{3BF9FCE2-D81A-492B-8250-E77F4593FBBB}"/>
</file>

<file path=docProps/app.xml><?xml version="1.0" encoding="utf-8"?>
<Properties xmlns="http://schemas.openxmlformats.org/officeDocument/2006/extended-properties" xmlns:vt="http://schemas.openxmlformats.org/officeDocument/2006/docPropsVTypes">
  <Template>miniPCRBio PPT template 300919</Template>
  <TotalTime>12521</TotalTime>
  <Words>1835</Words>
  <Application>Microsoft Macintosh PowerPoint</Application>
  <PresentationFormat>Widescreen</PresentationFormat>
  <Paragraphs>491</Paragraphs>
  <Slides>47</Slides>
  <Notes>9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7</vt:i4>
      </vt:variant>
    </vt:vector>
  </HeadingPairs>
  <TitlesOfParts>
    <vt:vector size="58" baseType="lpstr">
      <vt:lpstr>Arial</vt:lpstr>
      <vt:lpstr>Calibri</vt:lpstr>
      <vt:lpstr>Courier</vt:lpstr>
      <vt:lpstr>Courier New</vt:lpstr>
      <vt:lpstr>Helvetica</vt:lpstr>
      <vt:lpstr>Lucida Grande</vt:lpstr>
      <vt:lpstr>Office Theme</vt:lpstr>
      <vt:lpstr>Custom Design</vt:lpstr>
      <vt:lpstr>Cover 01</vt:lpstr>
      <vt:lpstr>Cover 02</vt:lpstr>
      <vt:lpstr>think-cell Slide</vt:lpstr>
      <vt:lpstr>PTC Taster Lab</vt:lpstr>
      <vt:lpstr>Is your blue my red? (and other deep thoughts)</vt:lpstr>
      <vt:lpstr>PTC (Phenylthiocarbamide)</vt:lpstr>
      <vt:lpstr>Let’s try it!</vt:lpstr>
      <vt:lpstr>Taste reception</vt:lpstr>
      <vt:lpstr>Full picture of genotype to phenotype</vt:lpstr>
      <vt:lpstr>From phenotype to genotype in two class periods</vt:lpstr>
      <vt:lpstr>TAS2R38 taste receptor</vt:lpstr>
      <vt:lpstr>Bitter taste signal transduction </vt:lpstr>
      <vt:lpstr>Bitter taste signal transduction </vt:lpstr>
      <vt:lpstr>I ♥ G-Protein Coupled Receptors</vt:lpstr>
      <vt:lpstr>Easy DNA extraction:95ºC, 10 min</vt:lpstr>
      <vt:lpstr>2 alleles, 3 SNPs (single nucleotide polymorphism)</vt:lpstr>
      <vt:lpstr>2 alleles. 3 SNPs.</vt:lpstr>
      <vt:lpstr>2 alleles. 3 SNPs.</vt:lpstr>
      <vt:lpstr>2 alleles. 3 SNPs.</vt:lpstr>
      <vt:lpstr>PAV and AVI on the protein</vt:lpstr>
      <vt:lpstr>Taster allele is dominant</vt:lpstr>
      <vt:lpstr>The Polymerase Chain Reaction</vt:lpstr>
      <vt:lpstr>What goes in a reaction</vt:lpstr>
      <vt:lpstr>What goes in a reaction</vt:lpstr>
      <vt:lpstr>PCR protocol</vt:lpstr>
      <vt:lpstr>PowerPoint-præsentation</vt:lpstr>
      <vt:lpstr>Exponential Amplification</vt:lpstr>
      <vt:lpstr>Thermal Cyclers</vt:lpstr>
      <vt:lpstr>What do we already know about genotypes?</vt:lpstr>
      <vt:lpstr>Restriction enzymes</vt:lpstr>
      <vt:lpstr>PCR-RFLP  </vt:lpstr>
      <vt:lpstr>How do we find our RFLP?</vt:lpstr>
      <vt:lpstr>Power of PCR</vt:lpstr>
      <vt:lpstr>From phenotype to genotype in two class periods</vt:lpstr>
      <vt:lpstr>Restriction Digest</vt:lpstr>
      <vt:lpstr>Incubate 15 minutes at 37°C</vt:lpstr>
      <vt:lpstr>RFLP  </vt:lpstr>
      <vt:lpstr>Agarose gel electrophoresis</vt:lpstr>
      <vt:lpstr>Larger molecules migrate more slowly </vt:lpstr>
      <vt:lpstr>PowerPoint-præsentation</vt:lpstr>
      <vt:lpstr>GelGreen® Agarose Tabs</vt:lpstr>
      <vt:lpstr>Possible Results</vt:lpstr>
      <vt:lpstr>Results!</vt:lpstr>
      <vt:lpstr>Full picture of genotype to phenotype</vt:lpstr>
      <vt:lpstr>Remember genetics is messy!</vt:lpstr>
      <vt:lpstr>Questions</vt:lpstr>
      <vt:lpstr>Introductory to advanced</vt:lpstr>
      <vt:lpstr>Extensions </vt:lpstr>
      <vt:lpstr>miniPCR Learning Labs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ce Bryan</dc:creator>
  <cp:lastModifiedBy>Line Søndergaard Kallerup</cp:lastModifiedBy>
  <cp:revision>167</cp:revision>
  <dcterms:created xsi:type="dcterms:W3CDTF">2020-03-06T18:16:21Z</dcterms:created>
  <dcterms:modified xsi:type="dcterms:W3CDTF">2021-12-16T10:1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24A62435C14A4286DB020D2DE62476</vt:lpwstr>
  </property>
  <property fmtid="{D5CDD505-2E9C-101B-9397-08002B2CF9AE}" pid="3" name="MediaServiceImageTags">
    <vt:lpwstr/>
  </property>
</Properties>
</file>